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45"/>
  </p:notesMasterIdLst>
  <p:handoutMasterIdLst>
    <p:handoutMasterId r:id="rId46"/>
  </p:handoutMasterIdLst>
  <p:sldIdLst>
    <p:sldId id="292" r:id="rId2"/>
    <p:sldId id="307" r:id="rId3"/>
    <p:sldId id="293" r:id="rId4"/>
    <p:sldId id="327" r:id="rId5"/>
    <p:sldId id="308" r:id="rId6"/>
    <p:sldId id="310" r:id="rId7"/>
    <p:sldId id="333" r:id="rId8"/>
    <p:sldId id="265" r:id="rId9"/>
    <p:sldId id="268" r:id="rId10"/>
    <p:sldId id="331" r:id="rId11"/>
    <p:sldId id="258" r:id="rId12"/>
    <p:sldId id="311" r:id="rId13"/>
    <p:sldId id="260" r:id="rId14"/>
    <p:sldId id="277" r:id="rId15"/>
    <p:sldId id="332" r:id="rId16"/>
    <p:sldId id="261" r:id="rId17"/>
    <p:sldId id="270" r:id="rId18"/>
    <p:sldId id="312" r:id="rId19"/>
    <p:sldId id="273" r:id="rId20"/>
    <p:sldId id="278" r:id="rId21"/>
    <p:sldId id="279" r:id="rId22"/>
    <p:sldId id="280" r:id="rId23"/>
    <p:sldId id="281" r:id="rId24"/>
    <p:sldId id="314" r:id="rId25"/>
    <p:sldId id="282" r:id="rId26"/>
    <p:sldId id="304" r:id="rId27"/>
    <p:sldId id="274" r:id="rId28"/>
    <p:sldId id="319" r:id="rId29"/>
    <p:sldId id="317" r:id="rId30"/>
    <p:sldId id="275" r:id="rId31"/>
    <p:sldId id="320" r:id="rId32"/>
    <p:sldId id="321" r:id="rId33"/>
    <p:sldId id="276" r:id="rId34"/>
    <p:sldId id="316" r:id="rId35"/>
    <p:sldId id="318" r:id="rId36"/>
    <p:sldId id="269" r:id="rId37"/>
    <p:sldId id="271" r:id="rId38"/>
    <p:sldId id="322" r:id="rId39"/>
    <p:sldId id="323" r:id="rId40"/>
    <p:sldId id="313" r:id="rId41"/>
    <p:sldId id="299" r:id="rId42"/>
    <p:sldId id="306" r:id="rId43"/>
    <p:sldId id="324" r:id="rId44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ices" id="{5F7B6C2F-210F-4E88-AD7E-FF0200FB692A}">
          <p14:sldIdLst>
            <p14:sldId id="292"/>
            <p14:sldId id="307"/>
            <p14:sldId id="293"/>
            <p14:sldId id="327"/>
            <p14:sldId id="308"/>
          </p14:sldIdLst>
        </p14:section>
        <p14:section name="Masque" id="{4CADF933-B0C7-4C5C-929B-3C8DF07FAA77}">
          <p14:sldIdLst>
            <p14:sldId id="310"/>
            <p14:sldId id="333"/>
            <p14:sldId id="265"/>
            <p14:sldId id="268"/>
            <p14:sldId id="331"/>
            <p14:sldId id="258"/>
            <p14:sldId id="311"/>
            <p14:sldId id="260"/>
            <p14:sldId id="277"/>
            <p14:sldId id="332"/>
            <p14:sldId id="261"/>
            <p14:sldId id="270"/>
            <p14:sldId id="312"/>
            <p14:sldId id="273"/>
            <p14:sldId id="278"/>
            <p14:sldId id="279"/>
            <p14:sldId id="280"/>
            <p14:sldId id="281"/>
            <p14:sldId id="314"/>
            <p14:sldId id="282"/>
            <p14:sldId id="304"/>
            <p14:sldId id="274"/>
            <p14:sldId id="319"/>
            <p14:sldId id="317"/>
            <p14:sldId id="275"/>
            <p14:sldId id="320"/>
            <p14:sldId id="321"/>
            <p14:sldId id="276"/>
            <p14:sldId id="316"/>
            <p14:sldId id="318"/>
            <p14:sldId id="269"/>
            <p14:sldId id="271"/>
            <p14:sldId id="322"/>
            <p14:sldId id="323"/>
            <p14:sldId id="313"/>
            <p14:sldId id="299"/>
            <p14:sldId id="306"/>
            <p14:sldId id="32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31" autoAdjust="0"/>
    <p:restoredTop sz="94660"/>
  </p:normalViewPr>
  <p:slideViewPr>
    <p:cSldViewPr>
      <p:cViewPr varScale="1">
        <p:scale>
          <a:sx n="205" d="100"/>
          <a:sy n="205" d="100"/>
        </p:scale>
        <p:origin x="152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44"/>
    </p:cViewPr>
  </p:sorterViewPr>
  <p:notesViewPr>
    <p:cSldViewPr>
      <p:cViewPr varScale="1">
        <p:scale>
          <a:sx n="154" d="100"/>
          <a:sy n="154" d="100"/>
        </p:scale>
        <p:origin x="4616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6E8-4E8D-91AE-EA6260CDBA4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6E8-4E8D-91AE-EA6260CDBA4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6E8-4E8D-91AE-EA6260CDBA4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6E8-4E8D-91AE-EA6260CDBA4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D6E8-4E8D-91AE-EA6260CDBA43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6E8-4E8D-91AE-EA6260CDBA4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6E8-4E8D-91AE-EA6260CDBA43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6E8-4E8D-91AE-EA6260CDBA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62</c:v>
                </c:pt>
                <c:pt idx="1">
                  <c:v>44</c:v>
                </c:pt>
                <c:pt idx="2">
                  <c:v>56</c:v>
                </c:pt>
                <c:pt idx="3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6E8-4E8D-91AE-EA6260CDBA43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Colonne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D6E8-4E8D-91AE-EA6260CDBA4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6E8-4E8D-91AE-EA6260CDBA4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D6E8-4E8D-91AE-EA6260CDBA4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D6E8-4E8D-91AE-EA6260CDBA43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D6E8-4E8D-91AE-EA6260CDBA4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D6E8-4E8D-91AE-EA6260CDBA43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D6E8-4E8D-91AE-EA6260CDBA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72</c:v>
                </c:pt>
                <c:pt idx="1">
                  <c:v>54</c:v>
                </c:pt>
                <c:pt idx="2">
                  <c:v>66</c:v>
                </c:pt>
                <c:pt idx="3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6E8-4E8D-91AE-EA6260CDBA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1"/>
        <c:overlap val="-27"/>
        <c:axId val="741235160"/>
        <c:axId val="741235816"/>
      </c:barChart>
      <c:catAx>
        <c:axId val="741235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41235816"/>
        <c:crosses val="autoZero"/>
        <c:auto val="1"/>
        <c:lblAlgn val="ctr"/>
        <c:lblOffset val="100"/>
        <c:noMultiLvlLbl val="0"/>
      </c:catAx>
      <c:valAx>
        <c:axId val="7412358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1235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1.2941176470588235E-2"/>
          <c:y val="0.17173256578470786"/>
          <c:w val="0.97411764705882353"/>
          <c:h val="0.7448397555968429"/>
        </c:manualLayout>
      </c:layout>
      <c:lineChart>
        <c:grouping val="standar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3"/>
            <c:spPr>
              <a:solidFill>
                <a:schemeClr val="accent2"/>
              </a:solidFill>
              <a:ln w="25400">
                <a:solidFill>
                  <a:schemeClr val="bg1"/>
                </a:solidFill>
              </a:ln>
              <a:effectLst/>
            </c:spPr>
          </c:marker>
          <c:dPt>
            <c:idx val="0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187-41DF-A405-959575D1BCE8}"/>
              </c:ext>
            </c:extLst>
          </c:dPt>
          <c:dPt>
            <c:idx val="1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187-41DF-A405-959575D1BCE8}"/>
              </c:ext>
            </c:extLst>
          </c:dPt>
          <c:dPt>
            <c:idx val="2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187-41DF-A405-959575D1BCE8}"/>
              </c:ext>
            </c:extLst>
          </c:dPt>
          <c:dPt>
            <c:idx val="3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E187-41DF-A405-959575D1BCE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accent2"/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32</c:v>
                </c:pt>
                <c:pt idx="1">
                  <c:v>72</c:v>
                </c:pt>
                <c:pt idx="2">
                  <c:v>22</c:v>
                </c:pt>
                <c:pt idx="3">
                  <c:v>3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E187-41DF-A405-959575D1BCE8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Colonne1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3"/>
            <c:spPr>
              <a:solidFill>
                <a:schemeClr val="accent1"/>
              </a:solidFill>
              <a:ln w="25400">
                <a:solidFill>
                  <a:schemeClr val="bg1"/>
                </a:solidFill>
              </a:ln>
              <a:effectLst/>
            </c:spPr>
          </c:marker>
          <c:dPt>
            <c:idx val="1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A-E187-41DF-A405-959575D1BCE8}"/>
              </c:ext>
            </c:extLst>
          </c:dPt>
          <c:dPt>
            <c:idx val="2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C-E187-41DF-A405-959575D1BCE8}"/>
              </c:ext>
            </c:extLst>
          </c:dPt>
          <c:dPt>
            <c:idx val="3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E-E187-41DF-A405-959575D1BCE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accent1"/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72</c:v>
                </c:pt>
                <c:pt idx="1">
                  <c:v>32</c:v>
                </c:pt>
                <c:pt idx="2">
                  <c:v>82</c:v>
                </c:pt>
                <c:pt idx="3">
                  <c:v>6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0-E187-41DF-A405-959575D1BC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41235160"/>
        <c:axId val="741235816"/>
      </c:lineChart>
      <c:catAx>
        <c:axId val="741235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41235816"/>
        <c:crosses val="autoZero"/>
        <c:auto val="1"/>
        <c:lblAlgn val="ctr"/>
        <c:lblOffset val="100"/>
        <c:noMultiLvlLbl val="0"/>
      </c:catAx>
      <c:valAx>
        <c:axId val="7412358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1235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854315635312631"/>
          <c:y val="7.304984463663379E-2"/>
          <c:w val="0.68684299219968037"/>
          <c:h val="0.85754735373683411"/>
        </c:manualLayout>
      </c:layout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7B6-44C2-A238-4F6752244AB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7B6-44C2-A238-4F6752244AB4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7B6-44C2-A238-4F6752244AB4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F7B6-44C2-A238-4F6752244AB4}"/>
              </c:ext>
            </c:extLst>
          </c:dPt>
          <c:dLbls>
            <c:dLbl>
              <c:idx val="0"/>
              <c:layout>
                <c:manualLayout>
                  <c:x val="0.14842575148089684"/>
                  <c:y val="-6.1288910470497913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174773713141247"/>
                      <c:h val="0.1121122878739074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7B6-44C2-A238-4F6752244AB4}"/>
                </c:ext>
              </c:extLst>
            </c:dLbl>
            <c:dLbl>
              <c:idx val="1"/>
              <c:layout>
                <c:manualLayout>
                  <c:x val="0.13800426935557941"/>
                  <c:y val="9.0022179235796404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7B6-44C2-A238-4F6752244AB4}"/>
                </c:ext>
              </c:extLst>
            </c:dLbl>
            <c:dLbl>
              <c:idx val="2"/>
              <c:layout>
                <c:manualLayout>
                  <c:x val="-0.19756582504685768"/>
                  <c:y val="5.1889002986173507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7B6-44C2-A238-4F6752244AB4}"/>
                </c:ext>
              </c:extLst>
            </c:dLbl>
            <c:dLbl>
              <c:idx val="3"/>
              <c:layout>
                <c:manualLayout>
                  <c:x val="-0.14395238822653661"/>
                  <c:y val="-9.4891839003349451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7B6-44C2-A238-4F6752244AB4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0%</c:formatCode>
                <c:ptCount val="4"/>
                <c:pt idx="0">
                  <c:v>0.62</c:v>
                </c:pt>
                <c:pt idx="1">
                  <c:v>0.44</c:v>
                </c:pt>
                <c:pt idx="2">
                  <c:v>0.56000000000000005</c:v>
                </c:pt>
                <c:pt idx="3">
                  <c:v>0.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7B6-44C2-A238-4F6752244A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6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AF1E698-72C2-49A9-97DE-C0E2E80979A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062769A5-1367-4761-A209-1308ABBC784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9B8681-71DC-46A3-A800-3A19FCCC96A2}" type="slidenum">
              <a:rPr lang="fr-FR" smtClean="0"/>
              <a:t>‹N°›</a:t>
            </a:fld>
            <a:endParaRPr lang="fr-FR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B2E87E1F-ECE9-437A-B783-886C285C819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039254" y="227269"/>
            <a:ext cx="777906" cy="610932"/>
            <a:chOff x="2652" y="1228"/>
            <a:chExt cx="2376" cy="186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84218854-A8F0-4816-BF88-546A34407F7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9EEE12C8-665E-49E6-A22F-3FBB8A2F814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45A1E5F-619F-4A0F-929F-1F18A497D1A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4B4DB1CC-7D04-48C3-9030-68E1C67EE43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79966440-2DD2-4D88-9B8B-DAE198E880A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9101159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1105" y="988466"/>
            <a:ext cx="6015790" cy="451184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421105" y="5650572"/>
            <a:ext cx="6015790" cy="235042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70FD5F-2DFB-42E9-B875-75AFE3B63C24}" type="slidenum">
              <a:rPr lang="fr-FR" smtClean="0"/>
              <a:t>‹N°›</a:t>
            </a:fld>
            <a:endParaRPr lang="fr-FR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AA2018B9-BFD6-4EE4-AC08-CA2BB289789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039254" y="227269"/>
            <a:ext cx="777906" cy="610932"/>
            <a:chOff x="2652" y="1228"/>
            <a:chExt cx="2376" cy="186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DA90126-D7D1-425C-A030-D99428C0E41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6AB424D7-4E76-46C1-868E-D3DE76604E4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BC49FE43-C234-47B2-A2F9-CB4EBE214D5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7AA79D5E-7A85-4771-9FF8-E16D2D1A279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724AC5ED-E96B-44E7-B270-E5D9228C55A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710520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uverture Fond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18190C1-C5FC-4E71-AFEB-59A4A324223B}"/>
              </a:ext>
            </a:extLst>
          </p:cNvPr>
          <p:cNvSpPr/>
          <p:nvPr userDrawn="1"/>
        </p:nvSpPr>
        <p:spPr>
          <a:xfrm>
            <a:off x="0" y="-1"/>
            <a:ext cx="9144000" cy="4470401"/>
          </a:xfrm>
          <a:prstGeom prst="rect">
            <a:avLst/>
          </a:prstGeom>
          <a:gradFill>
            <a:gsLst>
              <a:gs pos="0">
                <a:schemeClr val="bg1">
                  <a:alpha val="66000"/>
                </a:schemeClr>
              </a:gs>
              <a:gs pos="99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EDF1C6-E97E-48D9-8D20-948AB20D5E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037" y="803049"/>
            <a:ext cx="7700963" cy="706437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3600">
                <a:solidFill>
                  <a:schemeClr val="tx2"/>
                </a:solidFill>
                <a:latin typeface="MAIF Light" panose="020B0403020200030B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4CD9051-5A79-4E1B-B914-7591251C62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037" y="1290187"/>
            <a:ext cx="7700963" cy="505505"/>
          </a:xfrm>
        </p:spPr>
        <p:txBody>
          <a:bodyPr/>
          <a:lstStyle>
            <a:lvl1pPr marL="130969" indent="0" algn="l">
              <a:buNone/>
              <a:defRPr sz="18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1D1F3D4-7166-4EA4-8112-066CDB4B6D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0037" y="464457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tx2"/>
                </a:solidFill>
                <a:latin typeface="+mj-lt"/>
              </a:defRPr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11DCD4E-F2B2-4FDC-8168-CA95F53D5A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0ACFA520-89E0-4A9C-9C95-09278E91A0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8A2F933B-10B0-624C-A4E0-72FA8FE7CF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05748" y="2146300"/>
            <a:ext cx="3332504" cy="256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732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9571FCDF-0BE4-46AB-8230-D2E131121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1A1D0687-EE34-453A-8C1C-B17B685894F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2" name="Espace réservé du pied de page 11">
            <a:extLst>
              <a:ext uri="{FF2B5EF4-FFF2-40B4-BE49-F238E27FC236}">
                <a16:creationId xmlns:a16="http://schemas.microsoft.com/office/drawing/2014/main" id="{B2462C28-9E78-4DA0-B079-09D59C6B5C2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A93589F-C782-43C1-818F-E1C620472D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0C1F0FA6-A374-46FD-A6FE-A34CB16A0A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3515" y="1825625"/>
            <a:ext cx="3486124" cy="323165"/>
          </a:xfrm>
          <a:solidFill>
            <a:schemeClr val="accent1"/>
          </a:solidFill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id="{9D0C9B9F-2564-427A-9D80-1A6EF061E9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4362" y="1825625"/>
            <a:ext cx="3486124" cy="323165"/>
          </a:xfrm>
          <a:solidFill>
            <a:schemeClr val="accent2"/>
          </a:solidFill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7222D973-66C0-46DC-89CA-9F93BA4FEE5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903515" y="2438400"/>
            <a:ext cx="3486124" cy="37356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CABFD047-635F-44AA-B287-0E009D692D6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754362" y="2438400"/>
            <a:ext cx="3486124" cy="37356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80BA56C-A162-41DF-A618-461DD65CDC71}"/>
              </a:ext>
            </a:extLst>
          </p:cNvPr>
          <p:cNvCxnSpPr>
            <a:cxnSpLocks/>
          </p:cNvCxnSpPr>
          <p:nvPr/>
        </p:nvCxnSpPr>
        <p:spPr>
          <a:xfrm>
            <a:off x="4544997" y="1825626"/>
            <a:ext cx="0" cy="434837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709036C7-07DC-4DD7-BF66-47DD75B1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0434E319-6012-486A-8F3B-976C40AD92F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286229DF-ABFB-DD4B-8111-29291464E8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29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érieur Sans Sous-titre (2 colon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EBF7224-7C25-4612-9DA7-3CBE776BA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3515" y="1339200"/>
            <a:ext cx="3486124" cy="483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1CCF435A-2440-4E30-B2CA-656CE62D5E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54362" y="1339200"/>
            <a:ext cx="3486124" cy="483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571FCDF-0BE4-46AB-8230-D2E131121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1A1D0687-EE34-453A-8C1C-B17B685894F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2" name="Espace réservé du pied de page 11">
            <a:extLst>
              <a:ext uri="{FF2B5EF4-FFF2-40B4-BE49-F238E27FC236}">
                <a16:creationId xmlns:a16="http://schemas.microsoft.com/office/drawing/2014/main" id="{B2462C28-9E78-4DA0-B079-09D59C6B5C2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A93589F-C782-43C1-818F-E1C620472D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DE8FA895-56E1-43CA-960C-7A8B2114F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A93EEF87-8DC0-274C-9EAC-72DA7077A1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22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hase 1 ic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311686" y="3154585"/>
            <a:ext cx="6527513" cy="1243930"/>
          </a:xfrm>
        </p:spPr>
        <p:txBody>
          <a:bodyPr wrap="square" anchor="ctr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CE87F752-17AA-4755-85F7-FFD100EB65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02C08A1D-2BCE-4D89-AF8E-2B53C044E5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3A776FD7-51C4-BE45-B38A-B6B8C79FE9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694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6F56815B-DB8A-4783-88B5-5081EF1456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04799" y="2209152"/>
            <a:ext cx="2127251" cy="3076575"/>
          </a:xfrm>
        </p:spPr>
        <p:txBody>
          <a:bodyPr lIns="90000" rIns="0">
            <a:noAutofit/>
          </a:bodyPr>
          <a:lstStyle>
            <a:lvl1pPr marL="0" indent="0">
              <a:buNone/>
              <a:defRPr sz="2100">
                <a:latin typeface="MAIF Light" panose="020B0403020200030B04" pitchFamily="34" charset="0"/>
              </a:defRPr>
            </a:lvl1pPr>
            <a:lvl2pPr marL="98822" indent="0">
              <a:buFont typeface="Arial" panose="020B0604020202020204" pitchFamily="34" charset="0"/>
              <a:buNone/>
              <a:defRPr sz="1800">
                <a:latin typeface="+mn-lt"/>
              </a:defRPr>
            </a:lvl2pPr>
            <a:lvl3pPr marL="298847" indent="0">
              <a:buNone/>
              <a:defRPr sz="1500">
                <a:latin typeface="+mn-lt"/>
              </a:defRPr>
            </a:lvl3pPr>
            <a:lvl4pPr marL="498872" indent="0">
              <a:buNone/>
              <a:defRPr sz="1350">
                <a:latin typeface="+mn-lt"/>
              </a:defRPr>
            </a:lvl4pPr>
            <a:lvl5pPr marL="698897" indent="0">
              <a:buNone/>
              <a:defRPr sz="1350"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220DD63-91AA-4A56-8BA2-C89A773770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63824" y="2094852"/>
            <a:ext cx="1895476" cy="1323975"/>
          </a:xfrm>
        </p:spPr>
        <p:txBody>
          <a:bodyPr lIns="90000" tIns="0">
            <a:norm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bg2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12FA07C5-3250-4C73-9BC8-EDBBA097D3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03774" y="2094852"/>
            <a:ext cx="1895476" cy="1323975"/>
          </a:xfrm>
        </p:spPr>
        <p:txBody>
          <a:bodyPr lIns="90000" tIns="0">
            <a:norm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accent6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1CA8880A-FAC9-4167-9007-DBA9CD9C2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43724" y="2094852"/>
            <a:ext cx="1895476" cy="1323975"/>
          </a:xfrm>
        </p:spPr>
        <p:txBody>
          <a:bodyPr lIns="90000" tIns="0">
            <a:norm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accent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FBF1344F-0272-419A-8BCB-144D22935BC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663824" y="3418826"/>
            <a:ext cx="1908176" cy="1354217"/>
          </a:xfrm>
        </p:spPr>
        <p:txBody>
          <a:bodyPr wrap="square" rIns="0">
            <a:sp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00869EE6-F2C2-4298-AD4B-C6639C58F3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803774" y="3418826"/>
            <a:ext cx="1908176" cy="1354217"/>
          </a:xfrm>
        </p:spPr>
        <p:txBody>
          <a:bodyPr wrap="square" rIns="0">
            <a:sp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43D65CD8-1047-4916-BFDB-33EF50CF65F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943724" y="3418826"/>
            <a:ext cx="1908176" cy="1354217"/>
          </a:xfrm>
        </p:spPr>
        <p:txBody>
          <a:bodyPr wrap="square" rIns="0">
            <a:sp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DCD50193-1A6E-42D9-9737-4A01C7DE13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28A2C236-32A0-41C3-9495-080B2F62B5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F1ACB696-BB21-1B44-850C-3D0E6C90DC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446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orme libre : forme 29">
            <a:extLst>
              <a:ext uri="{FF2B5EF4-FFF2-40B4-BE49-F238E27FC236}">
                <a16:creationId xmlns:a16="http://schemas.microsoft.com/office/drawing/2014/main" id="{20D0EC2F-43DB-45A8-A68A-7836007240F4}"/>
              </a:ext>
            </a:extLst>
          </p:cNvPr>
          <p:cNvSpPr/>
          <p:nvPr/>
        </p:nvSpPr>
        <p:spPr bwMode="ltGray"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7230470-6850-4361-8465-03CE14DDC5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9" name="Espace réservé du texte 8">
            <a:extLst>
              <a:ext uri="{FF2B5EF4-FFF2-40B4-BE49-F238E27FC236}">
                <a16:creationId xmlns:a16="http://schemas.microsoft.com/office/drawing/2014/main" id="{2F3D538A-DF92-4688-9308-FE8FCFE293C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815D22BB-8403-47A6-82C0-1A77DF141E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694FF65C-E7D5-5C45-867E-609B6EFB24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976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6DE6646E-6236-42C0-84D6-80C1677D7FE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3515" y="2152119"/>
            <a:ext cx="3240000" cy="3240000"/>
          </a:xfrm>
          <a:prstGeom prst="ellipse">
            <a:avLst/>
          </a:prstGeo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090654DF-2E1E-4632-AA87-891A5FFA76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0" name="Espace réservé du texte 8">
            <a:extLst>
              <a:ext uri="{FF2B5EF4-FFF2-40B4-BE49-F238E27FC236}">
                <a16:creationId xmlns:a16="http://schemas.microsoft.com/office/drawing/2014/main" id="{451A0780-6EF9-4B4E-8692-D37C88017FA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2552DC6D-2E60-4936-AC27-D6FA76368C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7A808009-6030-6843-B122-83C42750E0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468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1" y="2105004"/>
            <a:ext cx="4267199" cy="334309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A7F04E4F-C183-4169-B49C-9E425DAF8C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BC17D912-8855-4AE8-B437-68F076BBD1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ADE6DE04-0897-F045-B540-D3140DE18C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534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7C079EF8-F262-42B9-8BF9-8067E04CBD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9" name="Espace réservé du texte 8">
            <a:extLst>
              <a:ext uri="{FF2B5EF4-FFF2-40B4-BE49-F238E27FC236}">
                <a16:creationId xmlns:a16="http://schemas.microsoft.com/office/drawing/2014/main" id="{F08380B0-BD0E-45A8-881D-08F9D0CE7B2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B1DD2DF8-E050-45CA-AECC-F4B83D4802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328C50E9-9017-F549-AFDF-016006F31D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214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E7B8D970-25A7-4A68-9237-B81AC1C82D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30659D4F-8827-4D78-AD03-F355450A41B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3515" y="2152119"/>
            <a:ext cx="3240000" cy="3240000"/>
          </a:xfrm>
          <a:prstGeom prst="ellipse">
            <a:avLst/>
          </a:prstGeo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2" name="Espace réservé du texte 8">
            <a:extLst>
              <a:ext uri="{FF2B5EF4-FFF2-40B4-BE49-F238E27FC236}">
                <a16:creationId xmlns:a16="http://schemas.microsoft.com/office/drawing/2014/main" id="{654E7D47-2C07-45B0-8256-A5C9B2CBA8E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F86006AB-1F66-49F0-8F1A-78EE6A0217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1E63C65A-9EEA-DE4A-B761-E46C358F19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195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1" y="2105004"/>
            <a:ext cx="4267199" cy="334309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9C382C4D-9B81-4EE2-83A3-18F2D4C995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9" name="Espace réservé du texte 8">
            <a:extLst>
              <a:ext uri="{FF2B5EF4-FFF2-40B4-BE49-F238E27FC236}">
                <a16:creationId xmlns:a16="http://schemas.microsoft.com/office/drawing/2014/main" id="{5A7ACA46-07D0-49E3-B808-702D5F5015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BAAC84E2-DC0B-4E30-A871-6887CB4F7E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BFEAA21A-B983-9E4A-AC22-AD1BE4476E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363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E790565F-4A33-4A20-98C7-DBFC1613A7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6032" y="1825625"/>
            <a:ext cx="7386598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2B9077-4CB3-48CE-B975-B3418C13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6" y="460376"/>
            <a:ext cx="7386598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EC6B4385-FCBD-4F42-B979-399F0BD74E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6598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E6F3A734-C3B6-894C-90CC-3BB80509AF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6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orme libre : forme 34">
            <a:extLst>
              <a:ext uri="{FF2B5EF4-FFF2-40B4-BE49-F238E27FC236}">
                <a16:creationId xmlns:a16="http://schemas.microsoft.com/office/drawing/2014/main" id="{86F958CF-9779-4E87-A829-D59667F94C49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2"/>
              <a:gd name="connsiteX1" fmla="*/ 0 w 5359400"/>
              <a:gd name="connsiteY1" fmla="*/ 0 h 6719502"/>
              <a:gd name="connsiteX2" fmla="*/ 0 w 5359400"/>
              <a:gd name="connsiteY2" fmla="*/ 6719502 h 6719502"/>
              <a:gd name="connsiteX3" fmla="*/ 5359400 w 5359400"/>
              <a:gd name="connsiteY3" fmla="*/ 6719502 h 6719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2">
                <a:moveTo>
                  <a:pt x="5359400" y="0"/>
                </a:moveTo>
                <a:lnTo>
                  <a:pt x="0" y="0"/>
                </a:lnTo>
                <a:lnTo>
                  <a:pt x="0" y="6719502"/>
                </a:lnTo>
                <a:lnTo>
                  <a:pt x="5359400" y="6719502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9AE5977-DD37-4F0E-8185-0FACFC40A7A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494" y="2776277"/>
            <a:ext cx="3471463" cy="2000548"/>
          </a:xfrm>
        </p:spPr>
        <p:txBody>
          <a:bodyPr wrap="none" anchor="ctr">
            <a:spAutoFit/>
          </a:bodyPr>
          <a:lstStyle>
            <a:lvl1pPr marL="0" indent="0" algn="ctr">
              <a:lnSpc>
                <a:spcPct val="100000"/>
              </a:lnSpc>
              <a:buNone/>
              <a:defRPr sz="12400" b="0">
                <a:solidFill>
                  <a:schemeClr val="accent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52%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745EABC6-3897-416D-9BE7-EE70889FE8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0" name="Espace réservé du texte 8">
            <a:extLst>
              <a:ext uri="{FF2B5EF4-FFF2-40B4-BE49-F238E27FC236}">
                <a16:creationId xmlns:a16="http://schemas.microsoft.com/office/drawing/2014/main" id="{FA362F13-9356-420B-ACA4-F898BCE9054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DD79C437-2012-4F07-A7D0-417208EB22E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D6C9864D-9F98-FE40-A197-07FD8BF06F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675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6DE6646E-6236-42C0-84D6-80C1677D7FE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04800" y="1981221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4754A0E4-1B40-4D75-9EBC-E95D5EB912B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52366" y="1981221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F94AC08A-DC54-4569-9E46-A5DEB54EA49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99933" y="1981221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55CEF124-2140-4B8F-970B-1EB5471F84B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4800" y="3978128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97EC0EB0-D71E-4DBA-9E3B-0974C7F446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952366" y="3978128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12DF89A0-EEA6-4611-8D03-AA7331B76599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3599933" y="3978128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747CF103-628C-4196-8163-8619D1CCE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64980D0D-9E0D-445E-B108-ADCA81A6368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C81A119B-B621-4013-B6A2-D62BA96237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25D9ACF4-8F70-7740-AAE7-AD4152FCC9B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960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2" y="1902077"/>
            <a:ext cx="4514847" cy="106088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F2919BC3-406A-48E3-9A33-E2354A0DA4C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04802" y="3169321"/>
            <a:ext cx="4514847" cy="106088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B8AA2B86-C6BF-4413-821D-369BD1A48C2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04802" y="4436567"/>
            <a:ext cx="4514847" cy="106088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A9F471E1-38E9-4B68-88CD-C13727578F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2" name="Espace réservé du texte 8">
            <a:extLst>
              <a:ext uri="{FF2B5EF4-FFF2-40B4-BE49-F238E27FC236}">
                <a16:creationId xmlns:a16="http://schemas.microsoft.com/office/drawing/2014/main" id="{3ED9FA71-9801-4105-A2F4-F98114A916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F21FFA7A-78AC-48D6-B9DB-6114F99D17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636AE1F0-27D8-074D-B632-E43E81A93B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47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re et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3039169"/>
            <a:ext cx="3457574" cy="1474763"/>
          </a:xfrm>
        </p:spPr>
        <p:txBody>
          <a:bodyPr wrap="square" anchor="ctr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Espace réservé pour une image  22">
            <a:extLst>
              <a:ext uri="{FF2B5EF4-FFF2-40B4-BE49-F238E27FC236}">
                <a16:creationId xmlns:a16="http://schemas.microsoft.com/office/drawing/2014/main" id="{C3A2AC48-8A60-4346-99E2-C569274B193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1777999"/>
            <a:ext cx="5124451" cy="4098926"/>
          </a:xfrm>
          <a:custGeom>
            <a:avLst/>
            <a:gdLst>
              <a:gd name="connsiteX0" fmla="*/ 0 w 6663711"/>
              <a:gd name="connsiteY0" fmla="*/ 0 h 4098926"/>
              <a:gd name="connsiteX1" fmla="*/ 6663711 w 6663711"/>
              <a:gd name="connsiteY1" fmla="*/ 0 h 4098926"/>
              <a:gd name="connsiteX2" fmla="*/ 6663711 w 6663711"/>
              <a:gd name="connsiteY2" fmla="*/ 4098926 h 4098926"/>
              <a:gd name="connsiteX3" fmla="*/ 0 w 6663711"/>
              <a:gd name="connsiteY3" fmla="*/ 4098926 h 4098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63711" h="4098926">
                <a:moveTo>
                  <a:pt x="0" y="0"/>
                </a:moveTo>
                <a:lnTo>
                  <a:pt x="6663711" y="0"/>
                </a:lnTo>
                <a:lnTo>
                  <a:pt x="6663711" y="4098926"/>
                </a:lnTo>
                <a:lnTo>
                  <a:pt x="0" y="4098926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C7F49293-39F6-49CD-AA82-725C3BC95C6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EE997154-345B-4645-9BF8-FD8B255B6A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D2C1513D-73A2-BF48-932A-29AEDE5CE2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601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3545717"/>
            <a:ext cx="8539163" cy="46166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400" b="0">
                <a:latin typeface="+mj-lt"/>
              </a:defRPr>
            </a:lvl1pPr>
            <a:lvl2pPr marL="98822" indent="0">
              <a:buFont typeface="Arial" panose="020B0604020202020204" pitchFamily="34" charset="0"/>
              <a:buNone/>
              <a:defRPr sz="2100" b="0">
                <a:latin typeface="+mj-lt"/>
              </a:defRPr>
            </a:lvl2pPr>
            <a:lvl3pPr marL="298847" indent="0">
              <a:buNone/>
              <a:defRPr sz="1800" b="0">
                <a:latin typeface="+mj-lt"/>
              </a:defRPr>
            </a:lvl3pPr>
            <a:lvl4pPr marL="498872" indent="0">
              <a:buNone/>
              <a:defRPr sz="1500" b="0">
                <a:latin typeface="+mj-lt"/>
              </a:defRPr>
            </a:lvl4pPr>
            <a:lvl5pPr marL="698897" indent="0">
              <a:buNone/>
              <a:defRPr sz="1500" b="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49A9919A-9DA4-446B-B944-6D16890AF3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24E8A4F4-812F-4646-A3AC-8DEE9FC77F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40FFD69-5843-E943-82ED-09F30515FC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93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3545717"/>
            <a:ext cx="8539163" cy="46166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400" b="0">
                <a:latin typeface="+mj-lt"/>
              </a:defRPr>
            </a:lvl1pPr>
            <a:lvl2pPr marL="98822" indent="0">
              <a:buFont typeface="Arial" panose="020B0604020202020204" pitchFamily="34" charset="0"/>
              <a:buNone/>
              <a:defRPr sz="2100" b="0">
                <a:latin typeface="+mj-lt"/>
              </a:defRPr>
            </a:lvl2pPr>
            <a:lvl3pPr marL="298847" indent="0">
              <a:buNone/>
              <a:defRPr sz="1800" b="0">
                <a:latin typeface="+mj-lt"/>
              </a:defRPr>
            </a:lvl3pPr>
            <a:lvl4pPr marL="498872" indent="0">
              <a:buNone/>
              <a:defRPr sz="1500" b="0">
                <a:latin typeface="+mj-lt"/>
              </a:defRPr>
            </a:lvl4pPr>
            <a:lvl5pPr marL="698897" indent="0">
              <a:buNone/>
              <a:defRPr sz="1500" b="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C6D1391F-E269-4467-B488-DC0B55443D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C687D17A-1EB1-4E70-8452-52EAB941B1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68DCF0FA-1D4F-1345-8EE2-9F01DC50A7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876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3545717"/>
            <a:ext cx="8539163" cy="46166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400" b="0">
                <a:latin typeface="+mj-lt"/>
              </a:defRPr>
            </a:lvl1pPr>
            <a:lvl2pPr marL="98822" indent="0">
              <a:buFont typeface="Arial" panose="020B0604020202020204" pitchFamily="34" charset="0"/>
              <a:buNone/>
              <a:defRPr sz="2100" b="0">
                <a:latin typeface="+mj-lt"/>
              </a:defRPr>
            </a:lvl2pPr>
            <a:lvl3pPr marL="298847" indent="0">
              <a:buNone/>
              <a:defRPr sz="1800" b="0">
                <a:latin typeface="+mj-lt"/>
              </a:defRPr>
            </a:lvl3pPr>
            <a:lvl4pPr marL="498872" indent="0">
              <a:buNone/>
              <a:defRPr sz="1500" b="0">
                <a:latin typeface="+mj-lt"/>
              </a:defRPr>
            </a:lvl4pPr>
            <a:lvl5pPr marL="698897" indent="0">
              <a:buNone/>
              <a:defRPr sz="1500" b="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DE7BCC78-1647-4430-A10C-0A9BCD3441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953B45F0-44F4-46E3-97A7-42AABF2EB2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6CA940A3-F985-DB44-A70A-D0B47F5A84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06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de 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79513E41-B7E0-4789-B168-0F0B8E0569F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5FE700EE-0FCE-49C5-9867-C349D931C4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C4754D67-D3BB-48E1-8246-80DAF6C48B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B42A68A0-E21A-44A9-8FEB-8A6846AFD4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id="{C8A4DCDE-E5F2-49C5-9231-9F014186E7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E739E720-FF0C-4CF2-A2A5-7D83611C23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id="{B468561D-E402-46B2-92AA-C03E0CA710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id="{8F0F2270-5736-48F1-B31A-BCD2AEA038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23" name="Espace réservé du texte 3">
            <a:extLst>
              <a:ext uri="{FF2B5EF4-FFF2-40B4-BE49-F238E27FC236}">
                <a16:creationId xmlns:a16="http://schemas.microsoft.com/office/drawing/2014/main" id="{9A2FF6D0-8561-4DE2-8AD7-693A51B1E17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24" name="Espace réservé du texte 3">
            <a:extLst>
              <a:ext uri="{FF2B5EF4-FFF2-40B4-BE49-F238E27FC236}">
                <a16:creationId xmlns:a16="http://schemas.microsoft.com/office/drawing/2014/main" id="{0A9979DA-ADC5-4B49-9DFC-C025BE6A68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9532F8C7-7DE8-AC4F-8F54-EE6B65D5A6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78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80114CFF-C01E-46D9-B3FD-A03625860C0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E0EA4F7A-46F1-46A7-B79D-A2F8C1A442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3C2C4F5-397C-404B-96DE-0A8FAB99AE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DB3B21B6-55B6-437C-8AC8-787E853FB3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9A7506F9-7C77-4980-AAD9-4FFAE477E4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7C457AAC-1FB9-4FCD-91B5-D5856600F62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F28C18F3-B3A6-4BC2-8368-C885E6CA21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87CF8CF6-1BEC-48CF-B1D4-4B1E5F5767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EA5C188D-44CE-45E4-A599-480FA0E750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27C22CF6-7A00-4673-9382-15183C09D2B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D1C71F07-657F-CC46-A588-60FC74C9D23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237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05F2581D-33CC-4A1C-92FF-2DE3F0F4E2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F53FC76B-A15C-4F44-A3A7-2BD26E2D51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7927A2D1-B9E1-43C0-AEE9-617AB6EF4D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2EE0BAE2-9E53-4914-B375-95EC288C0E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63896292-ED26-4B34-B81D-8BC4F1343B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BD8573F3-26A0-427C-A546-E971E936DC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F78634C9-3B7D-4EAD-B69F-F4EE306E47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B579AE1E-2F6A-40C5-8356-A0353E0C47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3AF7E18B-6B3D-4186-9608-EC52FE10F3F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BA8D34AD-FC57-4E31-9236-2954700CD53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601D2586-D680-A944-84CF-EB76B985B54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93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Fond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EDF1C6-E97E-48D9-8D20-948AB20D5E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037" y="803049"/>
            <a:ext cx="7700963" cy="706437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3600">
                <a:solidFill>
                  <a:schemeClr val="tx2"/>
                </a:solidFill>
                <a:latin typeface="MAIF Light" panose="020B0403020200030B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1D1F3D4-7166-4EA4-8112-066CDB4B6D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0037" y="464457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tx2"/>
                </a:solidFill>
                <a:latin typeface="+mj-lt"/>
              </a:defRPr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4294C3B9-F982-4AA5-A713-6AE0D66D91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A0F35AB9-B9F0-4DCB-A010-640FCC46F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2" name="Sous-titre 2">
            <a:extLst>
              <a:ext uri="{FF2B5EF4-FFF2-40B4-BE49-F238E27FC236}">
                <a16:creationId xmlns:a16="http://schemas.microsoft.com/office/drawing/2014/main" id="{EB680E13-575B-474B-9470-BE9CFEC044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037" y="1290187"/>
            <a:ext cx="7700963" cy="505505"/>
          </a:xfrm>
        </p:spPr>
        <p:txBody>
          <a:bodyPr/>
          <a:lstStyle>
            <a:lvl1pPr marL="130969" indent="0" algn="l">
              <a:buNone/>
              <a:defRPr sz="18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7D655808-199C-2F43-84DE-723070B7C4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250" y="2133600"/>
            <a:ext cx="3365500" cy="259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916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CAE15C1F-2A1E-44B4-9EAB-8C79B2A63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2780DEAB-D344-4512-BE7E-16087B8C1D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BFA9339-887B-4107-8FEA-FC1B965D76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C6741792-5E78-4E8A-940C-8835EF136C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9EF3532A-7090-42FE-AB8A-30DE0AC8F6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6627A529-2CE8-4DAB-9C15-B0F106DD6F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8E2FD399-B09B-4A30-BD9B-6C82EFE04F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700BD325-6C4A-4EBD-A343-8132E467DC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40B84A9E-0BD1-4B01-BEFE-91929002D7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1A58595F-3EE1-4EE8-BFDC-D9B4101660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B0F8B782-AD2A-AD4D-A18F-CA7ECDCE7DB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583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40B222F3-140A-499F-B4D5-E46249A397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39EE37E4-F9FF-4E5A-95C6-27D7969A23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A363FDF-EEF3-4FE5-9F0F-7C499E2603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DFAC21C0-CF67-46B1-BE74-1975FC3573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4D0F4A47-3C9D-4944-A386-C28A14A510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04BB7AA9-C616-4396-BBA6-6A7AD72E592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278347C7-984F-46E7-B803-1EF7BF1E1E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66D3ED07-EA91-48CC-80BC-66AF034414D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7354C17A-41AF-45BA-9606-95B52449C1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EBAD0977-57F7-4A83-AFAE-F632CBA667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DC21E97A-5078-CF41-973C-A44E0D5055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21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id="{0D2079C0-C2B4-40DC-84CA-9FBF37854F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FCC7E270-678C-4C4D-B73E-2F76C0C4E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D2FEC6C9-0947-4714-923A-7A23381F19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680F7DBB-ABF5-49CA-AC53-21952DA851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4034FDE7-73A3-4B6A-A201-E60126E0CB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DF7B729A-7E38-4EAA-9909-7A59CE85E8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7C96D635-FC7B-4134-BF51-C6F3AF8DAC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1B4EAB7B-AF37-4AE1-9173-511AA0FA54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4E270D8A-E9EC-48FB-BFCD-CF5B4FD5FFB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5F83DDE1-3FC5-4AEC-A509-D7D0EBC00D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343DB931-547D-854A-A246-33FFF9C15FB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42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7</a:t>
            </a: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id="{332B6E71-F4E0-46AF-BD39-D90F6CC43C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F02C0544-05A6-4891-A01B-EE1E653E83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4044E129-3981-43DF-AC7C-39DBE26CF1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267927DD-A76E-478E-B09B-11CDF4A5AE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E7EE9EB9-3D32-4339-8A28-72D96AC6D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C748B175-BDDD-493F-A359-F586291E0AC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45B1E8A8-9BDE-4921-87E0-CF89845E08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3CD1CA81-AD6E-4902-A66A-5852F0E2BE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916FBA6C-1AAB-4A5E-8FCA-EA6D9B30772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239C4DB2-80BC-4B87-ABBE-5E536DEFBF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E6FBE38C-267C-3B4C-B8E6-CDAF5B9977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88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8</a:t>
            </a: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id="{C7DE4902-530D-4571-A14A-2F7496A406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8986C5E6-A683-47B7-86B6-35F3AC1353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0997CEF1-E9E5-42EC-B637-7126396DC3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067F5017-EE30-4468-B3F6-6CC89A07EF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A276DD5-2875-426A-A929-9FEC85717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9EDBC1A7-A15C-498B-8C3B-372A66F7A6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0D361D9C-C477-46A5-A2C9-E19D5B69D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3D89433F-8124-4D0B-85A7-E59C607C83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5667A4BC-1869-4B9D-A0A9-C4C9214BDD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693D163F-1E9C-4D5A-87D5-A6A623E6596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B7EFBF7-C600-984A-B859-6A088C3BEA9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40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3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38484" y="1633300"/>
            <a:ext cx="698909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50170" y="1633299"/>
            <a:ext cx="787075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3558" y="1633300"/>
            <a:ext cx="806311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38485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50171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23559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981293AB-E3AD-4C44-9E5B-70B17A0192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19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4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9222" y="1633300"/>
            <a:ext cx="698909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48864" y="1633299"/>
            <a:ext cx="787075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8505" y="1633300"/>
            <a:ext cx="806311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9" name="Espace réservé du texte 8">
            <a:extLst>
              <a:ext uri="{FF2B5EF4-FFF2-40B4-BE49-F238E27FC236}">
                <a16:creationId xmlns:a16="http://schemas.microsoft.com/office/drawing/2014/main" id="{B05D0E55-8AB3-4FB3-8D8A-73B52919A2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88147" y="1633300"/>
            <a:ext cx="820738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9222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48864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506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CAB5A30C-13AF-4B7F-958A-BE56189D20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88148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FA1CC894-B5AE-684B-978F-D109CD35C1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25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6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38484" y="410925"/>
            <a:ext cx="58189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50170" y="410925"/>
            <a:ext cx="65562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3558" y="410925"/>
            <a:ext cx="67165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38485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50171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23559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2" name="Espace réservé du texte 8">
            <a:extLst>
              <a:ext uri="{FF2B5EF4-FFF2-40B4-BE49-F238E27FC236}">
                <a16:creationId xmlns:a16="http://schemas.microsoft.com/office/drawing/2014/main" id="{E67AEA97-2A80-4B1A-8D8F-665E9213C9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8484" y="32176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2CBD14F2-4104-4AFC-93CB-807180114F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50170" y="32176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4231E674-025C-4D45-B0E2-9EFD5583C51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23558" y="3217625"/>
            <a:ext cx="72616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62B904D8-2935-4B88-B7B5-FD8E5BFFE6F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438485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08BC004F-4D9F-48C5-8C74-93C5330B52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0171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0FCFB2F1-F090-43D6-A41A-A250BBA2DD0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3559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5" name="Espace réservé de la date 4">
            <a:extLst>
              <a:ext uri="{FF2B5EF4-FFF2-40B4-BE49-F238E27FC236}">
                <a16:creationId xmlns:a16="http://schemas.microsoft.com/office/drawing/2014/main" id="{47322995-2F9C-4D31-A140-243C2A3939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2943" y="6184901"/>
            <a:ext cx="792956" cy="365125"/>
          </a:xfrm>
        </p:spPr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26" name="Espace réservé du pied de page 5">
            <a:extLst>
              <a:ext uri="{FF2B5EF4-FFF2-40B4-BE49-F238E27FC236}">
                <a16:creationId xmlns:a16="http://schemas.microsoft.com/office/drawing/2014/main" id="{328A7114-3311-4155-AEB4-5D5A07423E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85898" y="6184901"/>
            <a:ext cx="7353302" cy="365125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27" name="Espace réservé du numéro de diapositive 6">
            <a:extLst>
              <a:ext uri="{FF2B5EF4-FFF2-40B4-BE49-F238E27FC236}">
                <a16:creationId xmlns:a16="http://schemas.microsoft.com/office/drawing/2014/main" id="{5BDFC56C-D542-46BA-95AE-6A044D90F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184901"/>
            <a:ext cx="392906" cy="365125"/>
          </a:xfrm>
        </p:spPr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3FE7B0B3-DF78-6341-B7A5-4647B20224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333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8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9222" y="410925"/>
            <a:ext cx="58189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48863" y="410925"/>
            <a:ext cx="65562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8505" y="410925"/>
            <a:ext cx="67165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9" name="Espace réservé du texte 8">
            <a:extLst>
              <a:ext uri="{FF2B5EF4-FFF2-40B4-BE49-F238E27FC236}">
                <a16:creationId xmlns:a16="http://schemas.microsoft.com/office/drawing/2014/main" id="{B05D0E55-8AB3-4FB3-8D8A-73B52919A2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88147" y="4109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9222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48864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506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CAB5A30C-13AF-4B7F-958A-BE56189D20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88148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25FFA469-1790-4B1F-82BD-D23D92E4D4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9222" y="32176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255A5C79-8D96-4EF2-89D6-9D0D0A18446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48863" y="3217625"/>
            <a:ext cx="72616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AE81CA01-710E-459E-AD91-A1EE1773D8F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18505" y="3217625"/>
            <a:ext cx="631583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7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95392AA8-7479-4878-8C89-79A0EBF0100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88147" y="3217625"/>
            <a:ext cx="73738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8</a:t>
            </a:r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88BB30E1-3A7E-43C1-AC08-6B2DC08EE43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9222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7B454139-21E4-4C7E-8B7D-F149CC48DA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48864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9C880DAC-8E40-4388-B765-B20DDF4D215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18506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004EF11D-40F2-4FA6-9116-B5CEA55158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8148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0A046686-42CA-E64F-8424-000C8952E45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86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64D48B-2CC2-4314-82E3-2E3E060C17F0}" type="datetime1">
              <a:rPr lang="fr-FR" smtClean="0"/>
              <a:t>18/07/2019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CEB87CB-D597-4E20-9CFB-A496C0452A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5958" y="1352550"/>
            <a:ext cx="8483242" cy="4639930"/>
          </a:xfrm>
        </p:spPr>
        <p:txBody>
          <a:bodyPr lIns="72000">
            <a:normAutofit/>
          </a:bodyPr>
          <a:lstStyle>
            <a:lvl1pPr marL="671513" indent="-671513">
              <a:spcBef>
                <a:spcPts val="1350"/>
              </a:spcBef>
              <a:buClr>
                <a:srgbClr val="B3B8B6"/>
              </a:buClr>
              <a:buSzPct val="190000"/>
              <a:buFont typeface="+mj-lt"/>
              <a:buAutoNum type="arabicPeriod"/>
              <a:defRPr b="0">
                <a:latin typeface="+mj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9CB32EEA-7090-4A98-B18B-62D053C0B6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959" y="460376"/>
            <a:ext cx="8483242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65FED78-19EF-8944-8A2D-A7067CFEE7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330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Espace réservé pour une image  29">
            <a:extLst>
              <a:ext uri="{FF2B5EF4-FFF2-40B4-BE49-F238E27FC236}">
                <a16:creationId xmlns:a16="http://schemas.microsoft.com/office/drawing/2014/main" id="{C3EAC9BA-B968-4C41-AC86-FB77484D6C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auto">
          <a:xfrm>
            <a:off x="1" y="0"/>
            <a:ext cx="5670947" cy="6858000"/>
          </a:xfrm>
          <a:custGeom>
            <a:avLst/>
            <a:gdLst>
              <a:gd name="connsiteX0" fmla="*/ 0 w 7561263"/>
              <a:gd name="connsiteY0" fmla="*/ 0 h 6570421"/>
              <a:gd name="connsiteX1" fmla="*/ 7561263 w 7561263"/>
              <a:gd name="connsiteY1" fmla="*/ 0 h 6570421"/>
              <a:gd name="connsiteX2" fmla="*/ 7561263 w 7561263"/>
              <a:gd name="connsiteY2" fmla="*/ 6570421 h 6570421"/>
              <a:gd name="connsiteX3" fmla="*/ 0 w 7561263"/>
              <a:gd name="connsiteY3" fmla="*/ 6570421 h 6570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61263" h="6570421">
                <a:moveTo>
                  <a:pt x="0" y="0"/>
                </a:moveTo>
                <a:lnTo>
                  <a:pt x="7561263" y="0"/>
                </a:lnTo>
                <a:lnTo>
                  <a:pt x="7561263" y="6570421"/>
                </a:lnTo>
                <a:lnTo>
                  <a:pt x="0" y="657042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tIns="2520000" rIns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097A2C2F-B838-4408-A260-70C94E843A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4567475" cy="37856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077BEED-2020-4253-BC28-B38D837182CF}"/>
              </a:ext>
            </a:extLst>
          </p:cNvPr>
          <p:cNvSpPr txBox="1"/>
          <p:nvPr/>
        </p:nvSpPr>
        <p:spPr>
          <a:xfrm>
            <a:off x="5856270" y="660430"/>
            <a:ext cx="971741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800" b="1" dirty="0">
                <a:solidFill>
                  <a:schemeClr val="bg2"/>
                </a:solidFill>
                <a:latin typeface="+mn-lt"/>
              </a:rPr>
              <a:t>«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52B062-66E9-4F36-942E-BBBB6F9C62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87092" y="1880828"/>
            <a:ext cx="2952108" cy="412262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3069EA6E-C95D-4D38-B3EA-79579B71AF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0640CF34-D220-C348-A460-6A534A913C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6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oss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8" name="Espace réservé du texte 9">
            <a:extLst>
              <a:ext uri="{FF2B5EF4-FFF2-40B4-BE49-F238E27FC236}">
                <a16:creationId xmlns:a16="http://schemas.microsoft.com/office/drawing/2014/main" id="{A1E9CD74-BC12-4D27-AFBE-D1E8A53E12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0037" y="1339200"/>
            <a:ext cx="8539163" cy="4834800"/>
          </a:xfrm>
        </p:spPr>
        <p:txBody>
          <a:bodyPr numCol="2">
            <a:normAutofit/>
          </a:bodyPr>
          <a:lstStyle>
            <a:lvl1pPr>
              <a:lnSpc>
                <a:spcPct val="100000"/>
              </a:lnSpc>
              <a:defRPr sz="1050" b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SzPct val="100000"/>
              <a:buFont typeface="MAIF" panose="020B0503020200030B04" pitchFamily="34" charset="0"/>
              <a:buNone/>
              <a:defRPr sz="1050"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Term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1F55FFCB-6566-41FD-BCB2-CA4B42559C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B0770EC0-8905-6747-A3EE-67E85F64A6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15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e l'élément multimédia 12">
            <a:extLst>
              <a:ext uri="{FF2B5EF4-FFF2-40B4-BE49-F238E27FC236}">
                <a16:creationId xmlns:a16="http://schemas.microsoft.com/office/drawing/2014/main" id="{633CA40B-1351-4CB2-ADEA-FB98FC2251A0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0" y="1131683"/>
            <a:ext cx="9144000" cy="5726316"/>
          </a:xfrm>
          <a:custGeom>
            <a:avLst/>
            <a:gdLst>
              <a:gd name="connsiteX0" fmla="*/ 0 w 12192000"/>
              <a:gd name="connsiteY0" fmla="*/ 0 h 6719500"/>
              <a:gd name="connsiteX1" fmla="*/ 12192000 w 12192000"/>
              <a:gd name="connsiteY1" fmla="*/ 0 h 6719500"/>
              <a:gd name="connsiteX2" fmla="*/ 12192000 w 12192000"/>
              <a:gd name="connsiteY2" fmla="*/ 6719500 h 6719500"/>
              <a:gd name="connsiteX3" fmla="*/ 0 w 12192000"/>
              <a:gd name="connsiteY3" fmla="*/ 6719500 h 6719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719500">
                <a:moveTo>
                  <a:pt x="0" y="0"/>
                </a:moveTo>
                <a:lnTo>
                  <a:pt x="12192000" y="0"/>
                </a:lnTo>
                <a:lnTo>
                  <a:pt x="12192000" y="6719500"/>
                </a:lnTo>
                <a:lnTo>
                  <a:pt x="0" y="6719500"/>
                </a:lnTo>
                <a:close/>
              </a:path>
            </a:pathLst>
          </a:custGeom>
        </p:spPr>
        <p:txBody>
          <a:bodyPr wrap="square" tIns="2520000" rIns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pour insérer une vidéo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E162749-2B71-4A76-BA2A-146A33E08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pied de page 6">
            <a:extLst>
              <a:ext uri="{FF2B5EF4-FFF2-40B4-BE49-F238E27FC236}">
                <a16:creationId xmlns:a16="http://schemas.microsoft.com/office/drawing/2014/main" id="{ACF00948-B478-469F-9E85-E979A0506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17" name="Espace réservé du numéro de diapositive 7">
            <a:extLst>
              <a:ext uri="{FF2B5EF4-FFF2-40B4-BE49-F238E27FC236}">
                <a16:creationId xmlns:a16="http://schemas.microsoft.com/office/drawing/2014/main" id="{85335176-C1AD-4FA4-B220-8FAB921D62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8" name="Espace réservé de la date 28">
            <a:extLst>
              <a:ext uri="{FF2B5EF4-FFF2-40B4-BE49-F238E27FC236}">
                <a16:creationId xmlns:a16="http://schemas.microsoft.com/office/drawing/2014/main" id="{CA011B3F-2DAE-4923-AAF8-1055D795E58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993106" y="6858000"/>
            <a:ext cx="792956" cy="365125"/>
          </a:xfrm>
        </p:spPr>
        <p:txBody>
          <a:bodyPr/>
          <a:lstStyle>
            <a:lvl1pPr>
              <a:defRPr sz="100"/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1AE15ED-8A81-463D-8BC8-BE23CEB655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1091757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image plein écr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BB79399B-5EC3-4C9D-A070-4998B51AD9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1"/>
            <a:ext cx="9144000" cy="6857998"/>
          </a:xfrm>
          <a:prstGeom prst="rect">
            <a:avLst/>
          </a:prstGeom>
        </p:spPr>
        <p:txBody>
          <a:bodyPr wrap="square" tIns="2520000" rIns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5551DB3-DF9A-4476-8D12-D7DB2C01D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7" name="Espace réservé du pied de page 6">
            <a:extLst>
              <a:ext uri="{FF2B5EF4-FFF2-40B4-BE49-F238E27FC236}">
                <a16:creationId xmlns:a16="http://schemas.microsoft.com/office/drawing/2014/main" id="{C0B498F4-B82E-44A1-B511-CFF8CC43E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28" name="Espace réservé du numéro de diapositive 7">
            <a:extLst>
              <a:ext uri="{FF2B5EF4-FFF2-40B4-BE49-F238E27FC236}">
                <a16:creationId xmlns:a16="http://schemas.microsoft.com/office/drawing/2014/main" id="{2611A3B7-53F7-47B3-A920-B52F60AC1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9" name="Espace réservé de la date 28">
            <a:extLst>
              <a:ext uri="{FF2B5EF4-FFF2-40B4-BE49-F238E27FC236}">
                <a16:creationId xmlns:a16="http://schemas.microsoft.com/office/drawing/2014/main" id="{C392EFA1-8B6E-49B5-8B88-77FDC8CC8B7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993106" y="6858000"/>
            <a:ext cx="792956" cy="365125"/>
          </a:xfrm>
        </p:spPr>
        <p:txBody>
          <a:bodyPr/>
          <a:lstStyle>
            <a:lvl1pPr>
              <a:defRPr sz="100"/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30" name="Espace réservé du texte 18">
            <a:extLst>
              <a:ext uri="{FF2B5EF4-FFF2-40B4-BE49-F238E27FC236}">
                <a16:creationId xmlns:a16="http://schemas.microsoft.com/office/drawing/2014/main" id="{69400CB7-545C-405F-BB48-5AE6AAE5D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274" y="3943350"/>
            <a:ext cx="4255727" cy="415498"/>
          </a:xfrm>
        </p:spPr>
        <p:txBody>
          <a:bodyPr wrap="square">
            <a:spAutoFit/>
          </a:bodyPr>
          <a:lstStyle>
            <a:lvl1pPr marL="0" indent="0">
              <a:buNone/>
              <a:defRPr sz="2100"/>
            </a:lvl1pPr>
          </a:lstStyle>
          <a:p>
            <a:pPr lvl="0"/>
            <a:r>
              <a:rPr lang="fr-FR" dirty="0"/>
              <a:t>Ajouter du texte ici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0EF89D5A-93F0-4073-9E30-A0EC009CE9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250891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érieur Sans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E5C7993-F39D-4134-B406-99342B04A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EBF7224-7C25-4612-9DA7-3CBE776BA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3514" y="1339200"/>
            <a:ext cx="7353303" cy="483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E3F7C2C7-3DC5-430B-BFE0-6CD182B0F02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C9FBD7F0-4926-4783-8096-097BD01EDA5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1A21131-4AF7-4913-A5D9-CE9F7CD51C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 dirty="0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F09B7B43-AB9F-48DB-99C2-4AC2C7A0FB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9DF2EAA-36BD-F54C-995C-2444656C55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382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59C6D29F-3C5B-47E4-B705-94E1C32289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1992A034-E889-4709-97CD-748C15BFA2C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E80A64DC-B261-E34A-B790-95EED79952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602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1A69E2CC-C2A7-4FCC-9A11-2E2D39E24C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C4CC04CC-8958-A64E-BE73-51579494FF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621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ase texte +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329B1868-03B7-40DD-828E-2E3F816182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0037" y="1825626"/>
            <a:ext cx="8539163" cy="1335109"/>
          </a:xfrm>
        </p:spPr>
        <p:txBody>
          <a:bodyPr>
            <a:normAutofit/>
          </a:bodyPr>
          <a:lstStyle>
            <a:lvl1pPr marL="64294" indent="-64294">
              <a:buFont typeface="MAIF" panose="020B0503020200030B04" pitchFamily="34" charset="0"/>
              <a:buChar char=" "/>
              <a:defRPr sz="2100"/>
            </a:lvl1pPr>
            <a:lvl2pPr marL="271463" indent="-135731">
              <a:defRPr/>
            </a:lvl2pPr>
            <a:lvl3pPr marL="407194" indent="-135731"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3515" y="3289467"/>
            <a:ext cx="2249145" cy="2205797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33365" y="3289467"/>
            <a:ext cx="2249145" cy="2205797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1" name="Espace réservé du texte 8">
            <a:extLst>
              <a:ext uri="{FF2B5EF4-FFF2-40B4-BE49-F238E27FC236}">
                <a16:creationId xmlns:a16="http://schemas.microsoft.com/office/drawing/2014/main" id="{C7193C76-4249-49B5-B9AE-627D5534467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991340" y="3289467"/>
            <a:ext cx="2249145" cy="2205797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A3B3A03D-EE7E-4859-99D3-C29F32232D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1A0D372F-CB69-485F-88DB-7200DDEF51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704C8B62-9D6E-4246-8E40-A198A869BA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875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3515" y="1825626"/>
            <a:ext cx="3486125" cy="1520929"/>
          </a:xfrm>
        </p:spPr>
        <p:txBody>
          <a:bodyPr wrap="square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54362" y="1825626"/>
            <a:ext cx="3486125" cy="1520929"/>
          </a:xfrm>
        </p:spPr>
        <p:txBody>
          <a:bodyPr wrap="square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E532FC6C-BBFB-44A2-A7FA-688DE655A4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62A47CA7-7FC3-4433-BFC2-ECB80D0DA8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FF6CA11C-B80E-804E-85BD-D09AC1D936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021288"/>
            <a:ext cx="859966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228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AF10D4F-EE9A-49F9-97BC-79244A8EC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353303" cy="378565"/>
          </a:xfrm>
          <a:prstGeom prst="rect">
            <a:avLst/>
          </a:prstGeom>
        </p:spPr>
        <p:txBody>
          <a:bodyPr vert="horz" wrap="square" lIns="91440" tIns="45720" rIns="91440" bIns="0" rtlCol="0" anchor="t" anchorCtr="0">
            <a:sp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786472-6B91-41A5-90A3-AE7356C622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3516" y="1825625"/>
            <a:ext cx="7353302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41E5F0-1F9C-4B6D-8B09-23B85D4E24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85898" y="6184901"/>
            <a:ext cx="73533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6FB4FC-EA8D-4460-B283-67C7A60E46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0037" y="6184901"/>
            <a:ext cx="3929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2"/>
                </a:solidFill>
                <a:latin typeface="MAIF Black" panose="020B0803020200030B04" pitchFamily="34" charset="0"/>
              </a:defRPr>
            </a:lvl1pPr>
          </a:lstStyle>
          <a:p>
            <a:fld id="{9A94298C-04EA-4293-9B8F-40F1B15866F6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5712A3B-D87F-4ABD-B865-0524072080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2943" y="6184901"/>
            <a:ext cx="7929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800" smtClean="0">
                <a:solidFill>
                  <a:schemeClr val="tx2"/>
                </a:solidFill>
              </a:defRPr>
            </a:lvl1pPr>
          </a:lstStyle>
          <a:p>
            <a:fld id="{48273180-BE1B-4F59-8A4F-AECB70B54570}" type="datetimeFigureOut">
              <a:rPr lang="en-GB" smtClean="0"/>
              <a:pPr/>
              <a:t>18/07/20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7221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10" r:id="rId37"/>
    <p:sldLayoutId id="2147483712" r:id="rId38"/>
    <p:sldLayoutId id="2147483716" r:id="rId39"/>
    <p:sldLayoutId id="2147483715" r:id="rId40"/>
    <p:sldLayoutId id="2147483713" r:id="rId41"/>
    <p:sldLayoutId id="2147483714" r:id="rId4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marL="0" indent="0" algn="l" defTabSz="685800" rtl="0" eaLnBrk="1" latinLnBrk="0" hangingPunct="1">
        <a:lnSpc>
          <a:spcPct val="90000"/>
        </a:lnSpc>
        <a:spcBef>
          <a:spcPct val="0"/>
        </a:spcBef>
        <a:buSzPct val="90000"/>
        <a:buFont typeface="Arial" panose="020B0604020202020204" pitchFamily="34" charset="0"/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69056" indent="-69056" algn="l" defTabSz="685800" rtl="0" eaLnBrk="1" latinLnBrk="0" hangingPunct="1">
        <a:lnSpc>
          <a:spcPct val="100000"/>
        </a:lnSpc>
        <a:spcBef>
          <a:spcPts val="750"/>
        </a:spcBef>
        <a:spcAft>
          <a:spcPts val="0"/>
        </a:spcAft>
        <a:buFont typeface="MAIF" panose="020B0503020200030B04" pitchFamily="34" charset="0"/>
        <a:buChar char=" 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270272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SzPct val="90000"/>
        <a:buFontTx/>
        <a:buBlip>
          <a:blip r:embed="rId44"/>
        </a:buBlip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470297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SzPct val="90000"/>
        <a:buFontTx/>
        <a:buBlip>
          <a:blip r:embed="rId45"/>
        </a:buBlip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670322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Font typeface="MAIF" panose="020B0503020200030B04" pitchFamily="34" charset="0"/>
        <a:buChar char="–"/>
        <a:defRPr sz="1100" kern="1200">
          <a:solidFill>
            <a:schemeClr val="tx2"/>
          </a:solidFill>
          <a:latin typeface="+mn-lt"/>
          <a:ea typeface="+mn-ea"/>
          <a:cs typeface="+mn-cs"/>
        </a:defRPr>
      </a:lvl4pPr>
      <a:lvl5pPr marL="870347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Font typeface="MAIF" panose="020B0503020200030B04" pitchFamily="34" charset="0"/>
        <a:buChar char="–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3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em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.xml"/><Relationship Id="rId7" Type="http://schemas.openxmlformats.org/officeDocument/2006/relationships/image" Target="../media/image9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D8D0309-B1B6-4963-8654-4D60F5DA8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34" name="Espace réservé du texte 6">
            <a:extLst>
              <a:ext uri="{FF2B5EF4-FFF2-40B4-BE49-F238E27FC236}">
                <a16:creationId xmlns:a16="http://schemas.microsoft.com/office/drawing/2014/main" id="{2C387925-3364-4079-9DCD-F295918357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Couverture</a:t>
            </a:r>
          </a:p>
          <a:p>
            <a:pPr lvl="1"/>
            <a:r>
              <a:rPr lang="fr-FR" b="1" dirty="0"/>
              <a:t>Texte</a:t>
            </a:r>
          </a:p>
          <a:p>
            <a:pPr lvl="2"/>
            <a:r>
              <a:rPr lang="fr-FR" dirty="0"/>
              <a:t>Polices par défaut </a:t>
            </a:r>
          </a:p>
          <a:p>
            <a:pPr lvl="3"/>
            <a:r>
              <a:rPr lang="fr-FR" dirty="0"/>
              <a:t>Titre : MAIF Light – Noir - 36 pts</a:t>
            </a:r>
            <a:br>
              <a:rPr lang="fr-FR" dirty="0"/>
            </a:br>
            <a:r>
              <a:rPr lang="fr-FR" dirty="0"/>
              <a:t>&amp; mises en valeur : MAIF Black – Rouge – 36 pts</a:t>
            </a:r>
          </a:p>
          <a:p>
            <a:pPr lvl="3"/>
            <a:r>
              <a:rPr lang="fr-FR" dirty="0"/>
              <a:t>Sous-titre : MAIF - Noir – 18 pts</a:t>
            </a:r>
          </a:p>
          <a:p>
            <a:pPr lvl="3"/>
            <a:r>
              <a:rPr lang="fr-FR" dirty="0"/>
              <a:t>Date : MAIF Medium – Noir – 10,5 pts</a:t>
            </a:r>
          </a:p>
          <a:p>
            <a:pPr lvl="1"/>
            <a:r>
              <a:rPr lang="fr-FR" b="1" dirty="0"/>
              <a:t>Image</a:t>
            </a:r>
          </a:p>
          <a:p>
            <a:pPr lvl="2"/>
            <a:r>
              <a:rPr lang="fr-FR" dirty="0"/>
              <a:t>Pour changer une image  </a:t>
            </a:r>
          </a:p>
          <a:p>
            <a:pPr lvl="3"/>
            <a:r>
              <a:rPr lang="fr-FR" dirty="0"/>
              <a:t>Clic droit avec la souris sur l’image de fond</a:t>
            </a:r>
          </a:p>
          <a:p>
            <a:pPr lvl="3"/>
            <a:r>
              <a:rPr lang="fr-FR" dirty="0"/>
              <a:t>Cliquer sur « Mise en forme de l’arrière-plan »</a:t>
            </a:r>
          </a:p>
          <a:p>
            <a:pPr lvl="3"/>
            <a:r>
              <a:rPr lang="fr-FR" dirty="0"/>
              <a:t>Cliquer sur « Remplissage avec image ou texture »</a:t>
            </a:r>
          </a:p>
          <a:p>
            <a:pPr lvl="3"/>
            <a:r>
              <a:rPr lang="fr-FR" dirty="0"/>
              <a:t>Cliquer sur « Fichier » pour sélectionner l’image</a:t>
            </a:r>
          </a:p>
          <a:p>
            <a:pPr lvl="3"/>
            <a:r>
              <a:rPr lang="fr-FR" dirty="0"/>
              <a:t>Cliquer sur « Ouvrir »</a:t>
            </a:r>
            <a:br>
              <a:rPr lang="fr-FR" dirty="0"/>
            </a:br>
            <a:r>
              <a:rPr lang="fr-FR" dirty="0"/>
              <a:t>(format préconisé : 1920 x 1080 px)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F30DF41-5B2D-41E1-959C-C8ECFF09110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103C846-A6B9-4F13-A740-99B1A4CE791B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3B3FFE-6908-4AF8-9671-D6F51BC26F6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</p:txBody>
      </p:sp>
      <p:sp>
        <p:nvSpPr>
          <p:cNvPr id="30" name="Espace réservé du numéro de diapositive 29">
            <a:extLst>
              <a:ext uri="{FF2B5EF4-FFF2-40B4-BE49-F238E27FC236}">
                <a16:creationId xmlns:a16="http://schemas.microsoft.com/office/drawing/2014/main" id="{1C0B2117-A2D8-485E-A559-6DB40327AF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1</a:t>
            </a:fld>
            <a:endParaRPr lang="fr-FR" dirty="0"/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23834388-02F6-4478-B485-B922F8476B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/>
              <a:t>0.1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9425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1A76C2B6-113D-41E3-82CA-BA8C6891E7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64D48B-2CC2-4314-82E3-2E3E060C17F0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4B7B47D-231F-4F3B-A5F0-C2B14C2DF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FD0E45D-5E18-4BB5-AB80-BAA58F172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529F0E50-EDFA-465D-B7B0-FFDF0543BD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premier</a:t>
            </a:r>
            <a:r>
              <a:rPr lang="fr-FR" dirty="0"/>
              <a:t> </a:t>
            </a:r>
            <a:r>
              <a:rPr lang="fr-FR" sz="1575" dirty="0"/>
              <a:t>chapitre</a:t>
            </a:r>
          </a:p>
          <a:p>
            <a:pPr>
              <a:buClr>
                <a:srgbClr val="C49FB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deuxième</a:t>
            </a:r>
            <a:r>
              <a:rPr lang="fr-FR" dirty="0"/>
              <a:t> chapitre </a:t>
            </a:r>
          </a:p>
          <a:p>
            <a:pPr>
              <a:buClr>
                <a:srgbClr val="ACB8D2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troisième</a:t>
            </a:r>
            <a:r>
              <a:rPr lang="fr-FR" dirty="0"/>
              <a:t> chapitre</a:t>
            </a:r>
          </a:p>
          <a:p>
            <a:pPr>
              <a:buClr>
                <a:srgbClr val="FE9EA3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quatrième</a:t>
            </a:r>
            <a:r>
              <a:rPr lang="fr-FR" dirty="0"/>
              <a:t> chapitre</a:t>
            </a:r>
          </a:p>
          <a:p>
            <a:pPr>
              <a:buClr>
                <a:srgbClr val="FFAC9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cinquième</a:t>
            </a:r>
            <a:r>
              <a:rPr lang="fr-FR" dirty="0"/>
              <a:t> chapitre</a:t>
            </a:r>
          </a:p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sixième</a:t>
            </a:r>
            <a:r>
              <a:rPr lang="fr-FR" dirty="0"/>
              <a:t> chapitre</a:t>
            </a:r>
          </a:p>
          <a:p>
            <a:pPr>
              <a:buClr>
                <a:srgbClr val="C49FB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septième</a:t>
            </a:r>
            <a:r>
              <a:rPr lang="fr-FR" dirty="0"/>
              <a:t> chapitre</a:t>
            </a:r>
          </a:p>
          <a:p>
            <a:pPr>
              <a:buClr>
                <a:srgbClr val="ACB8D2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huitième</a:t>
            </a:r>
            <a:r>
              <a:rPr lang="fr-FR" dirty="0"/>
              <a:t> chapitre</a:t>
            </a:r>
          </a:p>
          <a:p>
            <a:pPr>
              <a:buClr>
                <a:srgbClr val="FE9EA3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neuvième</a:t>
            </a:r>
            <a:r>
              <a:rPr lang="fr-FR" dirty="0"/>
              <a:t> chapitre</a:t>
            </a:r>
          </a:p>
          <a:p>
            <a:pPr>
              <a:buClr>
                <a:srgbClr val="FFAC9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dixième</a:t>
            </a:r>
            <a:r>
              <a:rPr lang="fr-FR" dirty="0"/>
              <a:t> chapitre</a:t>
            </a:r>
          </a:p>
        </p:txBody>
      </p:sp>
      <p:sp>
        <p:nvSpPr>
          <p:cNvPr id="26" name="Titre 25">
            <a:extLst>
              <a:ext uri="{FF2B5EF4-FFF2-40B4-BE49-F238E27FC236}">
                <a16:creationId xmlns:a16="http://schemas.microsoft.com/office/drawing/2014/main" id="{A3A143DB-1D01-46E7-B100-B03735E502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958" y="460376"/>
            <a:ext cx="8483242" cy="378565"/>
          </a:xfrm>
        </p:spPr>
        <p:txBody>
          <a:bodyPr/>
          <a:lstStyle/>
          <a:p>
            <a:r>
              <a:rPr lang="fr-FR" dirty="0"/>
              <a:t>Sommaire</a:t>
            </a:r>
            <a:endParaRPr lang="en-GB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FED4D98-6823-40F5-A653-EB7AC588D838}"/>
              </a:ext>
            </a:extLst>
          </p:cNvPr>
          <p:cNvSpPr/>
          <p:nvPr/>
        </p:nvSpPr>
        <p:spPr>
          <a:xfrm>
            <a:off x="9215531" y="0"/>
            <a:ext cx="1414370" cy="1554272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lang="fr-FR" sz="750" dirty="0">
                <a:solidFill>
                  <a:schemeClr val="tx1"/>
                </a:solidFill>
                <a:latin typeface="+mj-lt"/>
              </a:rPr>
              <a:t>Pour changer la couleur des chiffres (La couleur automatique est le vert clair ) :</a:t>
            </a:r>
          </a:p>
          <a:p>
            <a:pPr marL="128588" indent="-128588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chemeClr val="tx1"/>
                </a:solidFill>
              </a:rPr>
              <a:t>Clic droit sur la ligne du chapitre souhaité</a:t>
            </a:r>
          </a:p>
          <a:p>
            <a:pPr marL="128588" indent="-128588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chemeClr val="tx1"/>
                </a:solidFill>
              </a:rPr>
              <a:t>Dans « Numérotation », cliquer sur « Puces et numéros… »</a:t>
            </a:r>
          </a:p>
          <a:p>
            <a:pPr marL="128588" indent="-128588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chemeClr val="tx1"/>
                </a:solidFill>
              </a:rPr>
              <a:t>Modifier la couleur du chiffre</a:t>
            </a:r>
          </a:p>
        </p:txBody>
      </p:sp>
    </p:spTree>
    <p:extLst>
      <p:ext uri="{BB962C8B-B14F-4D97-AF65-F5344CB8AC3E}">
        <p14:creationId xmlns:p14="http://schemas.microsoft.com/office/powerpoint/2010/main" val="305180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4D7BB23-64D0-40A2-9241-EF9A64377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FFCD9885-B4E7-4B34-AA08-9041F2246C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 lignes</a:t>
            </a:r>
          </a:p>
        </p:txBody>
      </p:sp>
    </p:spTree>
    <p:extLst>
      <p:ext uri="{BB962C8B-B14F-4D97-AF65-F5344CB8AC3E}">
        <p14:creationId xmlns:p14="http://schemas.microsoft.com/office/powerpoint/2010/main" val="2915075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4D7BB23-64D0-40A2-9241-EF9A64377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FFCD9885-B4E7-4B34-AA08-9041F2246C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794064"/>
          </a:xfrm>
        </p:spPr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deux lignes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21A6F9D0-D15D-421E-809F-126D284570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1.1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888E618-BBBF-4F8B-950D-C77CA221DB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99F507A-597B-47D1-BCB2-8C3B6E2EA5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2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AC6EA1F2-32CF-443F-98D6-4D5E471772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E80905D-906E-4970-81AC-4C62A99295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1.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302D2CFD-1561-49CA-B45F-EDC6F5EE10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649E116-7605-4461-8B02-0E2EFD6EF2F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1.4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EE5F5511-EB15-475F-B656-F04D451114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206AB1C9-08E0-458C-85F3-BCE04FC6E25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1.5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44E56E29-43A9-45C3-85E1-F482A237B5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4274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Espace réservé pour une image  9">
            <a:extLst>
              <a:ext uri="{FF2B5EF4-FFF2-40B4-BE49-F238E27FC236}">
                <a16:creationId xmlns:a16="http://schemas.microsoft.com/office/drawing/2014/main" id="{509F2AC0-DB68-49C1-879A-A8B4CEE57303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58" b="2258"/>
          <a:stretch>
            <a:fillRect/>
          </a:stretch>
        </p:blipFill>
        <p:spPr/>
      </p:pic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A44B572-2C6D-4ECB-B9DA-896F89D8FA2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685800"/>
            <a:fld id="{179048D2-9AA3-45DD-899E-F34DDFEFCFA8}" type="datetime1">
              <a:rPr lang="fr-FR">
                <a:solidFill>
                  <a:schemeClr val="tx2">
                    <a:lumMod val="95000"/>
                    <a:lumOff val="5000"/>
                  </a:schemeClr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chemeClr val="tx2">
                  <a:lumMod val="95000"/>
                  <a:lumOff val="5000"/>
                </a:schemeClr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11A3791-CDCD-4A32-9EAB-F9839CE9E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chemeClr val="tx2">
                    <a:lumMod val="95000"/>
                    <a:lumOff val="5000"/>
                  </a:schemeClr>
                </a:solidFill>
                <a:latin typeface="MAIF Medium"/>
              </a:rPr>
              <a:t>Titre de la présentation</a:t>
            </a:r>
            <a:endParaRPr lang="fr-FR" dirty="0">
              <a:solidFill>
                <a:schemeClr val="tx2">
                  <a:lumMod val="95000"/>
                  <a:lumOff val="5000"/>
                </a:schemeClr>
              </a:solidFill>
              <a:latin typeface="MAIF Medium"/>
            </a:endParaRP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1BB1F3F1-0E0F-4EFB-B13B-53D93B01F1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chemeClr val="tx2">
                    <a:lumMod val="95000"/>
                    <a:lumOff val="5000"/>
                  </a:schemeClr>
                </a:solidFill>
              </a:rPr>
              <a:t>X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30B97118-DB85-4250-920A-B93D92121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>
              <a:solidFill>
                <a:schemeClr val="tx2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0AFFC9E-FDB1-4EF8-8E57-48F1DD28F9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34A2CBAC-F0FC-43F8-9954-0ABD25F5E8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1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3B9FE3E-91BD-4428-AE6D-B74A4C0F2DCD}"/>
              </a:ext>
            </a:extLst>
          </p:cNvPr>
          <p:cNvSpPr/>
          <p:nvPr/>
        </p:nvSpPr>
        <p:spPr>
          <a:xfrm>
            <a:off x="9215531" y="0"/>
            <a:ext cx="1414370" cy="1426031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d’imag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upprimer l’imag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n place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’icon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au milieu du bloc 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’image souhaitée dans votre ordinateur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Faire un clic droit sur l’image, puis choisir « Arrière-plan »</a:t>
            </a:r>
          </a:p>
        </p:txBody>
      </p:sp>
    </p:spTree>
    <p:extLst>
      <p:ext uri="{BB962C8B-B14F-4D97-AF65-F5344CB8AC3E}">
        <p14:creationId xmlns:p14="http://schemas.microsoft.com/office/powerpoint/2010/main" val="232134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D04ED2C9-5AB6-40BB-AC37-52AB5F35C0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685800"/>
            <a:fld id="{1D835151-A525-4E88-9A18-B108D5432797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899BE57-6388-4883-B052-4E2EEDBB89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7B102C05-F8C0-4A46-BAA3-865B8434C4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1D378EB0-F5FD-4DCB-A4C6-5222547660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0633151-D778-41C9-814E-6750D7C48DF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894258"/>
            <a:ext cx="3457574" cy="1764586"/>
          </a:xfrm>
        </p:spPr>
        <p:txBody>
          <a:bodyPr/>
          <a:lstStyle/>
          <a:p>
            <a:pPr lvl="0"/>
            <a:r>
              <a:rPr lang="fr-FR" sz="1800" b="1" dirty="0">
                <a:solidFill>
                  <a:srgbClr val="000000"/>
                </a:solidFill>
              </a:rPr>
              <a:t>Accroche ut et </a:t>
            </a:r>
            <a:r>
              <a:rPr lang="fr-FR" sz="1800" b="1" dirty="0" err="1">
                <a:solidFill>
                  <a:srgbClr val="FC0D1A"/>
                </a:solidFill>
              </a:rPr>
              <a:t>voluptatur</a:t>
            </a:r>
            <a:r>
              <a:rPr lang="fr-FR" sz="1800" b="1" dirty="0">
                <a:solidFill>
                  <a:srgbClr val="FC0D1A"/>
                </a:solidFill>
              </a:rPr>
              <a:t> </a:t>
            </a:r>
            <a:r>
              <a:rPr lang="fr-FR" sz="1800" b="1" dirty="0" err="1">
                <a:solidFill>
                  <a:srgbClr val="FC0D1A"/>
                </a:solidFill>
              </a:rPr>
              <a:t>sandicium</a:t>
            </a:r>
            <a:r>
              <a:rPr lang="fr-FR" sz="1800" b="1" dirty="0">
                <a:solidFill>
                  <a:srgbClr val="000000"/>
                </a:solidFill>
              </a:rPr>
              <a:t> </a:t>
            </a:r>
            <a:r>
              <a:rPr lang="fr-FR" sz="1800" b="1" dirty="0" err="1">
                <a:solidFill>
                  <a:srgbClr val="000000"/>
                </a:solidFill>
              </a:rPr>
              <a:t>liqui</a:t>
            </a:r>
            <a:r>
              <a:rPr lang="fr-FR" sz="1800" b="1" dirty="0">
                <a:solidFill>
                  <a:srgbClr val="000000"/>
                </a:solidFill>
              </a:rPr>
              <a:t> con </a:t>
            </a:r>
            <a:r>
              <a:rPr lang="fr-FR" sz="1800" b="1" dirty="0" err="1">
                <a:solidFill>
                  <a:srgbClr val="000000"/>
                </a:solidFill>
              </a:rPr>
              <a:t>nienistiur</a:t>
            </a:r>
            <a:r>
              <a:rPr lang="fr-FR" sz="1800" b="1" dirty="0">
                <a:solidFill>
                  <a:srgbClr val="000000"/>
                </a:solidFill>
              </a:rPr>
              <a:t> ma </a:t>
            </a:r>
            <a:r>
              <a:rPr lang="fr-FR" sz="1800" b="1" dirty="0" err="1">
                <a:solidFill>
                  <a:srgbClr val="000000"/>
                </a:solidFill>
              </a:rPr>
              <a:t>dio</a:t>
            </a:r>
            <a:endParaRPr lang="fr-FR" sz="1800" b="1" dirty="0">
              <a:solidFill>
                <a:srgbClr val="000000"/>
              </a:solidFill>
            </a:endParaRPr>
          </a:p>
          <a:p>
            <a:pPr lvl="0"/>
            <a:r>
              <a:rPr lang="fr-FR" dirty="0">
                <a:solidFill>
                  <a:srgbClr val="000000"/>
                </a:solidFill>
              </a:rPr>
              <a:t>Texte courant </a:t>
            </a:r>
            <a:r>
              <a:rPr lang="fr-FR" dirty="0" err="1">
                <a:solidFill>
                  <a:srgbClr val="000000"/>
                </a:solidFill>
              </a:rPr>
              <a:t>Archicitem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ata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quas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ipsunt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dolorem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sapisquasit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quatis</a:t>
            </a:r>
            <a:r>
              <a:rPr lang="fr-FR" dirty="0">
                <a:solidFill>
                  <a:srgbClr val="000000"/>
                </a:solidFill>
              </a:rPr>
              <a:t> ut que </a:t>
            </a:r>
            <a:r>
              <a:rPr lang="fr-FR" dirty="0" err="1">
                <a:solidFill>
                  <a:srgbClr val="000000"/>
                </a:solidFill>
              </a:rPr>
              <a:t>volori</a:t>
            </a: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D15492C0-97C9-48C7-A6D4-B1544DB4E2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extes &amp; visuels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E81C7D56-8FB8-4D8C-9BB1-CF9DE9B064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71C2C1-3069-477F-B48A-6427327382DE}"/>
              </a:ext>
            </a:extLst>
          </p:cNvPr>
          <p:cNvSpPr/>
          <p:nvPr/>
        </p:nvSpPr>
        <p:spPr>
          <a:xfrm>
            <a:off x="9215531" y="0"/>
            <a:ext cx="1414370" cy="1079783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d’image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upprimer l’imag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n plac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’icon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au milieu du bloc 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’image souhaitée dans votre ordinateur</a:t>
            </a:r>
          </a:p>
        </p:txBody>
      </p:sp>
      <p:pic>
        <p:nvPicPr>
          <p:cNvPr id="18" name="Espace réservé pour une image  17">
            <a:extLst>
              <a:ext uri="{FF2B5EF4-FFF2-40B4-BE49-F238E27FC236}">
                <a16:creationId xmlns:a16="http://schemas.microsoft.com/office/drawing/2014/main" id="{DE72A0D6-C3C3-4A0D-B213-C5FA893D0D72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5" r="824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50626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8">
            <a:extLst>
              <a:ext uri="{FF2B5EF4-FFF2-40B4-BE49-F238E27FC236}">
                <a16:creationId xmlns:a16="http://schemas.microsoft.com/office/drawing/2014/main" id="{F691BA40-D066-4359-8715-782FA75B9C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Accroche </a:t>
            </a:r>
            <a:r>
              <a:rPr lang="fr-FR" dirty="0" err="1"/>
              <a:t>congue</a:t>
            </a:r>
            <a:r>
              <a:rPr lang="fr-FR" dirty="0"/>
              <a:t> massa, </a:t>
            </a:r>
            <a:r>
              <a:rPr lang="fr-FR" dirty="0" err="1"/>
              <a:t>fusce</a:t>
            </a:r>
            <a:r>
              <a:rPr lang="fr-FR" dirty="0"/>
              <a:t> </a:t>
            </a:r>
            <a:r>
              <a:rPr lang="fr-FR" dirty="0" err="1"/>
              <a:t>posuere</a:t>
            </a:r>
            <a:r>
              <a:rPr lang="fr-FR" dirty="0"/>
              <a:t>, magna </a:t>
            </a:r>
            <a:r>
              <a:rPr lang="fr-FR" dirty="0" err="1"/>
              <a:t>sed</a:t>
            </a:r>
            <a:r>
              <a:rPr lang="fr-FR" dirty="0"/>
              <a:t>.</a:t>
            </a:r>
          </a:p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DEBA89B-5F34-416C-919C-6B3865D012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2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33E69458-C780-4413-8FBB-70172EB0E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FD4C1C5E-AE1D-417F-958F-16A227B148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5615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29834583-B939-4BD9-9027-151C0DD08C6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6AFC131-00DB-48D0-9D69-F84E0352E92F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02EB974-166B-4C34-9DF0-68DB7DC3CE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322F0DA9-3BF6-4DE0-B3D7-24F2A31E333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Titre 20">
            <a:extLst>
              <a:ext uri="{FF2B5EF4-FFF2-40B4-BE49-F238E27FC236}">
                <a16:creationId xmlns:a16="http://schemas.microsoft.com/office/drawing/2014/main" id="{703C51CC-A499-45D6-B310-BA77A77B6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CC57ECFC-B23B-4196-8A85-1023840AED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032" y="1825626"/>
            <a:ext cx="7344454" cy="1335109"/>
          </a:xfrm>
        </p:spPr>
        <p:txBody>
          <a:bodyPr/>
          <a:lstStyle/>
          <a:p>
            <a:r>
              <a:rPr lang="fr-FR" dirty="0"/>
              <a:t>Accroche </a:t>
            </a:r>
            <a:r>
              <a:rPr lang="fr-FR" dirty="0" err="1"/>
              <a:t>congue</a:t>
            </a:r>
            <a:r>
              <a:rPr lang="fr-FR" dirty="0"/>
              <a:t> massa, </a:t>
            </a:r>
            <a:r>
              <a:rPr lang="fr-FR" dirty="0" err="1"/>
              <a:t>fusce</a:t>
            </a:r>
            <a:r>
              <a:rPr lang="fr-FR" dirty="0"/>
              <a:t> </a:t>
            </a:r>
            <a:r>
              <a:rPr lang="fr-FR" dirty="0" err="1"/>
              <a:t>posuere</a:t>
            </a:r>
            <a:r>
              <a:rPr lang="fr-FR" dirty="0"/>
              <a:t>, magna </a:t>
            </a:r>
            <a:r>
              <a:rPr lang="fr-FR" dirty="0" err="1"/>
              <a:t>sed</a:t>
            </a:r>
            <a:r>
              <a:rPr lang="fr-FR" dirty="0"/>
              <a:t>.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978F234C-6344-4615-B644-658248189E0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Colonne 1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FB809A1C-EF82-4ED1-A7A2-890C74FE90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Colonne 2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8DD71A1F-9F41-448A-BAFD-2A1C81134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Colonne 3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070682C0-848F-444A-AD29-FBEEDEAB28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1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DBFE47ED-A827-45FC-A443-72693A31DC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56252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12BAAA5-3844-45A6-B261-AB982CFC9C0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4870E0-280E-4B53-815C-4F8182C54FA8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A18B467-8AA6-48CA-BB24-959D5808BC1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19D59BE-4EC5-490D-A432-3949F276FE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8" name="Titre 17">
            <a:extLst>
              <a:ext uri="{FF2B5EF4-FFF2-40B4-BE49-F238E27FC236}">
                <a16:creationId xmlns:a16="http://schemas.microsoft.com/office/drawing/2014/main" id="{F7FF4117-DAD6-4977-9BC7-BB97547E30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44D88C6-693C-47B9-B962-B77A9FD2858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exte courant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 </a:t>
            </a:r>
            <a:r>
              <a:rPr lang="fr-FR" dirty="0" err="1"/>
              <a:t>apidunture</a:t>
            </a:r>
            <a:r>
              <a:rPr lang="fr-FR" dirty="0"/>
              <a:t> dit quo </a:t>
            </a:r>
            <a:r>
              <a:rPr lang="fr-FR" dirty="0" err="1"/>
              <a:t>molut</a:t>
            </a:r>
            <a:r>
              <a:rPr lang="fr-FR" dirty="0"/>
              <a:t> est arum et </a:t>
            </a:r>
            <a:r>
              <a:rPr lang="fr-FR" dirty="0" err="1"/>
              <a:t>voluptatquo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sequiam</a:t>
            </a:r>
            <a:r>
              <a:rPr lang="fr-FR" dirty="0"/>
              <a:t> que </a:t>
            </a:r>
            <a:r>
              <a:rPr lang="fr-FR" dirty="0" err="1"/>
              <a:t>rernamusdae</a:t>
            </a:r>
            <a:r>
              <a:rPr lang="fr-FR" dirty="0"/>
              <a:t> </a:t>
            </a:r>
            <a:r>
              <a:rPr lang="fr-FR" dirty="0" err="1"/>
              <a:t>rercid</a:t>
            </a:r>
            <a:r>
              <a:rPr lang="fr-FR" dirty="0"/>
              <a:t> </a:t>
            </a:r>
            <a:r>
              <a:rPr lang="fr-FR" dirty="0" err="1"/>
              <a:t>quiaeperunt</a:t>
            </a:r>
            <a:r>
              <a:rPr lang="fr-FR" dirty="0"/>
              <a:t> </a:t>
            </a:r>
            <a:r>
              <a:rPr lang="fr-FR" dirty="0" err="1"/>
              <a:t>reri</a:t>
            </a:r>
            <a:r>
              <a:rPr lang="fr-FR" dirty="0"/>
              <a:t> </a:t>
            </a:r>
            <a:r>
              <a:rPr lang="fr-FR" dirty="0" err="1"/>
              <a:t>officipsam</a:t>
            </a:r>
            <a:r>
              <a:rPr lang="fr-FR" dirty="0"/>
              <a:t>,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fugiaes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as </a:t>
            </a:r>
            <a:r>
              <a:rPr lang="fr-FR" dirty="0" err="1"/>
              <a:t>reictem</a:t>
            </a:r>
            <a:r>
              <a:rPr lang="fr-FR" dirty="0"/>
              <a:t> </a:t>
            </a:r>
            <a:r>
              <a:rPr lang="fr-FR" dirty="0" err="1"/>
              <a:t>quamusci</a:t>
            </a:r>
            <a:r>
              <a:rPr lang="fr-FR" dirty="0"/>
              <a:t> </a:t>
            </a:r>
            <a:r>
              <a:rPr lang="fr-FR" dirty="0" err="1"/>
              <a:t>dollaborepe</a:t>
            </a:r>
            <a:r>
              <a:rPr lang="fr-FR" dirty="0"/>
              <a:t> cum </a:t>
            </a:r>
            <a:r>
              <a:rPr lang="fr-FR" dirty="0" err="1"/>
              <a:t>quistem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haris</a:t>
            </a:r>
            <a:r>
              <a:rPr lang="fr-FR" dirty="0"/>
              <a:t> rations </a:t>
            </a:r>
            <a:r>
              <a:rPr lang="fr-FR" dirty="0" err="1"/>
              <a:t>enihit</a:t>
            </a:r>
            <a:r>
              <a:rPr lang="fr-FR" dirty="0"/>
              <a:t> </a:t>
            </a:r>
            <a:r>
              <a:rPr lang="fr-FR" dirty="0" err="1"/>
              <a:t>voluptia</a:t>
            </a:r>
            <a:r>
              <a:rPr lang="fr-FR" dirty="0"/>
              <a:t> </a:t>
            </a:r>
            <a:r>
              <a:rPr lang="fr-FR" dirty="0" err="1"/>
              <a:t>pra</a:t>
            </a:r>
            <a:r>
              <a:rPr lang="fr-FR" dirty="0"/>
              <a:t> </a:t>
            </a:r>
            <a:r>
              <a:rPr lang="fr-FR" dirty="0" err="1"/>
              <a:t>conecaeptata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dolumqu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61413EF-C012-49D0-B633-DB890B2567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exte courant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 </a:t>
            </a:r>
            <a:r>
              <a:rPr lang="fr-FR" dirty="0" err="1"/>
              <a:t>apidunture</a:t>
            </a:r>
            <a:r>
              <a:rPr lang="fr-FR" dirty="0"/>
              <a:t> dit quo </a:t>
            </a:r>
            <a:r>
              <a:rPr lang="fr-FR" dirty="0" err="1"/>
              <a:t>molut</a:t>
            </a:r>
            <a:r>
              <a:rPr lang="fr-FR" dirty="0"/>
              <a:t> est arum et </a:t>
            </a:r>
            <a:r>
              <a:rPr lang="fr-FR" dirty="0" err="1"/>
              <a:t>voluptatquo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sequiam</a:t>
            </a:r>
            <a:r>
              <a:rPr lang="fr-FR" dirty="0"/>
              <a:t> que </a:t>
            </a:r>
            <a:r>
              <a:rPr lang="fr-FR" dirty="0" err="1"/>
              <a:t>rernamusdae</a:t>
            </a:r>
            <a:r>
              <a:rPr lang="fr-FR" dirty="0"/>
              <a:t> </a:t>
            </a:r>
            <a:r>
              <a:rPr lang="fr-FR" dirty="0" err="1"/>
              <a:t>rercid</a:t>
            </a:r>
            <a:r>
              <a:rPr lang="fr-FR" dirty="0"/>
              <a:t> </a:t>
            </a:r>
            <a:r>
              <a:rPr lang="fr-FR" dirty="0" err="1"/>
              <a:t>quiaeperunt</a:t>
            </a:r>
            <a:r>
              <a:rPr lang="fr-FR" dirty="0"/>
              <a:t> </a:t>
            </a:r>
            <a:r>
              <a:rPr lang="fr-FR" dirty="0" err="1"/>
              <a:t>reri</a:t>
            </a:r>
            <a:r>
              <a:rPr lang="fr-FR" dirty="0"/>
              <a:t> </a:t>
            </a:r>
            <a:r>
              <a:rPr lang="fr-FR" dirty="0" err="1"/>
              <a:t>officipsam</a:t>
            </a:r>
            <a:r>
              <a:rPr lang="fr-FR" dirty="0"/>
              <a:t>,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fugiaes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as </a:t>
            </a:r>
            <a:r>
              <a:rPr lang="fr-FR" dirty="0" err="1"/>
              <a:t>reictem</a:t>
            </a:r>
            <a:r>
              <a:rPr lang="fr-FR" dirty="0"/>
              <a:t> </a:t>
            </a:r>
            <a:r>
              <a:rPr lang="fr-FR" dirty="0" err="1"/>
              <a:t>quamusci</a:t>
            </a:r>
            <a:r>
              <a:rPr lang="fr-FR" dirty="0"/>
              <a:t> </a:t>
            </a:r>
            <a:r>
              <a:rPr lang="fr-FR" dirty="0" err="1"/>
              <a:t>dollaborepe</a:t>
            </a:r>
            <a:r>
              <a:rPr lang="fr-FR" dirty="0"/>
              <a:t> cum </a:t>
            </a:r>
            <a:r>
              <a:rPr lang="fr-FR" dirty="0" err="1"/>
              <a:t>quistem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haris</a:t>
            </a:r>
            <a:r>
              <a:rPr lang="fr-FR" dirty="0"/>
              <a:t> rations </a:t>
            </a:r>
            <a:r>
              <a:rPr lang="fr-FR" dirty="0" err="1"/>
              <a:t>enihit</a:t>
            </a:r>
            <a:r>
              <a:rPr lang="fr-FR" dirty="0"/>
              <a:t> </a:t>
            </a:r>
            <a:r>
              <a:rPr lang="fr-FR" dirty="0" err="1"/>
              <a:t>voluptia</a:t>
            </a:r>
            <a:r>
              <a:rPr lang="fr-FR" dirty="0"/>
              <a:t> </a:t>
            </a:r>
            <a:r>
              <a:rPr lang="fr-FR" dirty="0" err="1"/>
              <a:t>pra</a:t>
            </a:r>
            <a:r>
              <a:rPr lang="fr-FR" dirty="0"/>
              <a:t> </a:t>
            </a:r>
            <a:r>
              <a:rPr lang="fr-FR" dirty="0" err="1"/>
              <a:t>conecaeptata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dolumqu</a:t>
            </a:r>
            <a:endParaRPr lang="fr-FR" dirty="0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A295375F-AE17-465B-8CEE-06E032CAD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2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68A546A7-B5F1-4524-9F2E-1914684501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2368236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re 28">
            <a:extLst>
              <a:ext uri="{FF2B5EF4-FFF2-40B4-BE49-F238E27FC236}">
                <a16:creationId xmlns:a16="http://schemas.microsoft.com/office/drawing/2014/main" id="{BB099EC4-2DF2-49E8-9DE8-2C65F52410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12BAAA5-3844-45A6-B261-AB982CFC9C0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4870E0-280E-4B53-815C-4F8182C54FA8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A18B467-8AA6-48CA-BB24-959D5808BC1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19D59BE-4EC5-490D-A432-3949F276FED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61413EF-C012-49D0-B633-DB890B2567D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D46CD29-1E13-430C-BD32-856D5CC3B49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30" name="Espace réservé du contenu 29">
            <a:extLst>
              <a:ext uri="{FF2B5EF4-FFF2-40B4-BE49-F238E27FC236}">
                <a16:creationId xmlns:a16="http://schemas.microsoft.com/office/drawing/2014/main" id="{8D784A8F-2056-4C58-AB89-84BAEC63FC22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1" name="Espace réservé du contenu 30">
            <a:extLst>
              <a:ext uri="{FF2B5EF4-FFF2-40B4-BE49-F238E27FC236}">
                <a16:creationId xmlns:a16="http://schemas.microsoft.com/office/drawing/2014/main" id="{91B303AA-CCE8-4D68-8AEB-E5C74504D92A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A295375F-AE17-465B-8CEE-06E032CAD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2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685439D-0C34-49A6-8EDE-8DB34C0BC0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Comparaison</a:t>
            </a:r>
          </a:p>
        </p:txBody>
      </p:sp>
    </p:spTree>
    <p:extLst>
      <p:ext uri="{BB962C8B-B14F-4D97-AF65-F5344CB8AC3E}">
        <p14:creationId xmlns:p14="http://schemas.microsoft.com/office/powerpoint/2010/main" val="390400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re 25">
            <a:extLst>
              <a:ext uri="{FF2B5EF4-FFF2-40B4-BE49-F238E27FC236}">
                <a16:creationId xmlns:a16="http://schemas.microsoft.com/office/drawing/2014/main" id="{0C887FC5-9F12-44AA-A894-79458864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D764B29-01D7-4B1F-8C21-F4ADDD4544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EEEB2-3EFA-4963-8F0B-7E9826C6AD0E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5D16528-C3E9-4279-9BD2-762832B59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A6EAB1DB-ED3C-4D3B-A80F-28B691A03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D5F8A972-E6BB-4959-B628-B7DD19A96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 err="1"/>
              <a:t>Litio</a:t>
            </a:r>
            <a:r>
              <a:rPr lang="fr-FR" dirty="0"/>
              <a:t>. </a:t>
            </a:r>
            <a:br>
              <a:rPr lang="fr-FR" dirty="0"/>
            </a:br>
            <a:r>
              <a:rPr lang="fr-FR" dirty="0"/>
              <a:t>On </a:t>
            </a:r>
            <a:r>
              <a:rPr lang="fr-FR" dirty="0" err="1"/>
              <a:t>nimos</a:t>
            </a:r>
            <a:r>
              <a:rPr lang="fr-FR" dirty="0"/>
              <a:t> </a:t>
            </a:r>
            <a:r>
              <a:rPr lang="fr-FR" dirty="0" err="1"/>
              <a:t>dolest</a:t>
            </a:r>
            <a:r>
              <a:rPr lang="fr-FR" dirty="0"/>
              <a:t> </a:t>
            </a:r>
            <a:r>
              <a:rPr lang="fr-FR" dirty="0" err="1"/>
              <a:t>omnistem</a:t>
            </a:r>
            <a:r>
              <a:rPr lang="fr-FR" dirty="0"/>
              <a:t> </a:t>
            </a:r>
            <a:r>
              <a:rPr lang="fr-FR" dirty="0" err="1"/>
              <a:t>vellabore</a:t>
            </a:r>
            <a:r>
              <a:rPr lang="fr-FR" dirty="0"/>
              <a:t>, </a:t>
            </a:r>
            <a:br>
              <a:rPr lang="fr-FR" dirty="0"/>
            </a:br>
            <a:r>
              <a:rPr lang="fr-FR" dirty="0" err="1"/>
              <a:t>odis</a:t>
            </a:r>
            <a:r>
              <a:rPr lang="fr-FR" dirty="0"/>
              <a:t> </a:t>
            </a:r>
            <a:r>
              <a:rPr lang="fr-FR" dirty="0" err="1"/>
              <a:t>aliqui</a:t>
            </a:r>
            <a:endParaRPr lang="fr-FR" dirty="0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E8C2F8FA-2481-4AF4-8E01-C6E113B8A02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fr-FR" dirty="0"/>
              <a:t>52 %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E127A801-2D85-49F8-98A1-43BA43991AD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fr-FR" dirty="0"/>
              <a:t>26,4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FC9798ED-BBA9-41F6-91B9-2BD95DDA263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21K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9917B7A9-7410-47ED-88AE-D9D4D44BB8B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350E704A-A1B0-4D44-8B9D-DDD593E070D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2D42A055-7F7B-4E37-B67D-9C7DF905439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C8CA80-C42B-414A-BB01-04A3187768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3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430B7A39-022F-47CC-AA38-681BB73831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hiffres-clés</a:t>
            </a:r>
          </a:p>
        </p:txBody>
      </p:sp>
    </p:spTree>
    <p:extLst>
      <p:ext uri="{BB962C8B-B14F-4D97-AF65-F5344CB8AC3E}">
        <p14:creationId xmlns:p14="http://schemas.microsoft.com/office/powerpoint/2010/main" val="7971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D8D0309-B1B6-4963-8654-4D60F5DA8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34" name="Espace réservé du texte 6">
            <a:extLst>
              <a:ext uri="{FF2B5EF4-FFF2-40B4-BE49-F238E27FC236}">
                <a16:creationId xmlns:a16="http://schemas.microsoft.com/office/drawing/2014/main" id="{2C387925-3364-4079-9DCD-F295918357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2400" y="1339200"/>
            <a:ext cx="4737652" cy="4834800"/>
          </a:xfrm>
        </p:spPr>
        <p:txBody>
          <a:bodyPr>
            <a:normAutofit/>
          </a:bodyPr>
          <a:lstStyle/>
          <a:p>
            <a:r>
              <a:rPr lang="fr-FR" b="1" dirty="0">
                <a:solidFill>
                  <a:schemeClr val="bg2"/>
                </a:solidFill>
              </a:rPr>
              <a:t>Diapositive de contenu</a:t>
            </a:r>
          </a:p>
          <a:p>
            <a:pPr lvl="1"/>
            <a:r>
              <a:rPr lang="fr-FR" b="1" dirty="0"/>
              <a:t>Texte</a:t>
            </a:r>
          </a:p>
          <a:p>
            <a:pPr lvl="2"/>
            <a:r>
              <a:rPr lang="fr-FR" dirty="0"/>
              <a:t>Couleurs : blanc, noir, rouge ; mise en valeur :</a:t>
            </a:r>
            <a:br>
              <a:rPr lang="fr-FR" dirty="0"/>
            </a:br>
            <a:r>
              <a:rPr lang="fr-FR" dirty="0"/>
              <a:t>palette 100% d’opacité uniquement</a:t>
            </a:r>
          </a:p>
          <a:p>
            <a:pPr lvl="2"/>
            <a:r>
              <a:rPr lang="fr-FR" dirty="0"/>
              <a:t>Titre : sur 1 ligne – MAIF Medium (En-tête) – 24 pts</a:t>
            </a:r>
          </a:p>
          <a:p>
            <a:pPr lvl="2"/>
            <a:r>
              <a:rPr lang="fr-FR" dirty="0"/>
              <a:t>Contenu : MAIF (Corps)</a:t>
            </a:r>
          </a:p>
          <a:p>
            <a:pPr lvl="3"/>
            <a:r>
              <a:rPr lang="fr-FR" dirty="0"/>
              <a:t>Premier niveau : 16 pts</a:t>
            </a:r>
          </a:p>
          <a:p>
            <a:pPr lvl="3"/>
            <a:r>
              <a:rPr lang="fr-FR" dirty="0"/>
              <a:t>Deuxième niveau : 14 pts</a:t>
            </a:r>
          </a:p>
          <a:p>
            <a:pPr lvl="3"/>
            <a:r>
              <a:rPr lang="fr-FR" dirty="0"/>
              <a:t>Troisième niveau : 12 pts</a:t>
            </a:r>
          </a:p>
          <a:p>
            <a:pPr lvl="3"/>
            <a:r>
              <a:rPr lang="fr-FR" dirty="0"/>
              <a:t>Quatrième niveau : 11 pts</a:t>
            </a:r>
          </a:p>
          <a:p>
            <a:pPr lvl="2"/>
            <a:r>
              <a:rPr lang="fr-FR" dirty="0"/>
              <a:t>Pour passer d’un niveau de texte à un autre,</a:t>
            </a:r>
            <a:br>
              <a:rPr lang="fr-FR" dirty="0"/>
            </a:br>
            <a:r>
              <a:rPr lang="fr-FR" dirty="0"/>
              <a:t>utiliser la tabulation </a:t>
            </a:r>
            <a:br>
              <a:rPr lang="fr-FR" dirty="0"/>
            </a:br>
            <a:r>
              <a:rPr lang="fr-FR" dirty="0"/>
              <a:t>vers l’avant ou vers l’arrière </a:t>
            </a:r>
          </a:p>
          <a:p>
            <a:pPr lvl="2"/>
            <a:r>
              <a:rPr lang="fr-FR" dirty="0"/>
              <a:t>Mots en exergue : </a:t>
            </a:r>
            <a:r>
              <a:rPr lang="fr-FR" b="1" dirty="0"/>
              <a:t>MAIF (Corps) – Bold </a:t>
            </a:r>
            <a:r>
              <a:rPr lang="fr-FR" dirty="0"/>
              <a:t>(noir ou rouge)</a:t>
            </a:r>
          </a:p>
          <a:p>
            <a:pPr lvl="2"/>
            <a:r>
              <a:rPr lang="fr-FR" dirty="0"/>
              <a:t>Chiffres en exergue : </a:t>
            </a:r>
            <a:r>
              <a:rPr lang="fr-FR" b="1" dirty="0"/>
              <a:t>MAIF Black </a:t>
            </a:r>
            <a:r>
              <a:rPr lang="fr-FR" dirty="0"/>
              <a:t>– Couleurs palette</a:t>
            </a:r>
            <a:br>
              <a:rPr lang="fr-FR" dirty="0"/>
            </a:br>
            <a:r>
              <a:rPr lang="fr-FR" dirty="0"/>
              <a:t>à 100 %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F30DF41-5B2D-41E1-959C-C8ECFF09110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103C846-A6B9-4F13-A740-99B1A4CE791B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3B3FFE-6908-4AF8-9671-D6F51BC26F6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</p:txBody>
      </p:sp>
      <p:sp>
        <p:nvSpPr>
          <p:cNvPr id="30" name="Espace réservé du numéro de diapositive 29">
            <a:extLst>
              <a:ext uri="{FF2B5EF4-FFF2-40B4-BE49-F238E27FC236}">
                <a16:creationId xmlns:a16="http://schemas.microsoft.com/office/drawing/2014/main" id="{1C0B2117-A2D8-485E-A559-6DB40327AF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2</a:t>
            </a:fld>
            <a:endParaRPr lang="fr-FR" dirty="0"/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23834388-02F6-4478-B485-B922F8476B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2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AD71A73-1159-4FFA-B87D-E2794CC1D59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63541" y="1616075"/>
            <a:ext cx="3311525" cy="3625850"/>
          </a:xfrm>
        </p:spPr>
        <p:txBody>
          <a:bodyPr/>
          <a:lstStyle/>
          <a:p>
            <a:pPr lvl="1"/>
            <a:r>
              <a:rPr lang="fr-FR" b="1" dirty="0"/>
              <a:t>Image</a:t>
            </a:r>
          </a:p>
          <a:p>
            <a:pPr lvl="2"/>
            <a:r>
              <a:rPr lang="fr-FR" dirty="0"/>
              <a:t>Pour changer une image existante</a:t>
            </a:r>
          </a:p>
          <a:p>
            <a:pPr lvl="3"/>
            <a:r>
              <a:rPr lang="fr-FR" dirty="0"/>
              <a:t>Supprimer le visuel existant</a:t>
            </a:r>
          </a:p>
          <a:p>
            <a:pPr lvl="3"/>
            <a:r>
              <a:rPr lang="fr-FR" dirty="0"/>
              <a:t>Cliquer sur l’icône au centre de la zone grisée</a:t>
            </a:r>
          </a:p>
          <a:p>
            <a:pPr lvl="3"/>
            <a:r>
              <a:rPr lang="fr-FR" dirty="0"/>
              <a:t>Parcourir l’ordinateur pour choisir</a:t>
            </a:r>
            <a:br>
              <a:rPr lang="fr-FR" dirty="0"/>
            </a:br>
            <a:r>
              <a:rPr lang="fr-FR" dirty="0"/>
              <a:t>une image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154E8773-2579-44A8-8800-5AB687B9459E}"/>
              </a:ext>
            </a:extLst>
          </p:cNvPr>
          <p:cNvGrpSpPr/>
          <p:nvPr/>
        </p:nvGrpSpPr>
        <p:grpSpPr>
          <a:xfrm>
            <a:off x="2321551" y="3885503"/>
            <a:ext cx="354787" cy="178869"/>
            <a:chOff x="10642626" y="3913833"/>
            <a:chExt cx="549518" cy="277045"/>
          </a:xfrm>
        </p:grpSpPr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1A806A7C-4114-4585-9881-BE8CA5080F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42626" y="3913833"/>
              <a:ext cx="251390" cy="277045"/>
            </a:xfrm>
            <a:prstGeom prst="rect">
              <a:avLst/>
            </a:prstGeom>
          </p:spPr>
        </p:pic>
        <p:pic>
          <p:nvPicPr>
            <p:cNvPr id="12" name="Image 11">
              <a:extLst>
                <a:ext uri="{FF2B5EF4-FFF2-40B4-BE49-F238E27FC236}">
                  <a16:creationId xmlns:a16="http://schemas.microsoft.com/office/drawing/2014/main" id="{E2E37182-89A5-49FB-8DC8-EEE99D8B2E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940754" y="3913833"/>
              <a:ext cx="251390" cy="2770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31426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F81F6FCC-FBDD-4E43-9DB6-FFD2201A6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BAB97BCF-BFFF-47E9-B459-088AF710D8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7EAEE9-A921-4537-8542-662664F64E46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6A27A51-AA00-401E-BDBD-344F47BD2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64D0BEFF-63C2-4A75-A9D5-B2B436FA9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4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Histogramme</a:t>
            </a:r>
          </a:p>
        </p:txBody>
      </p:sp>
      <p:graphicFrame>
        <p:nvGraphicFramePr>
          <p:cNvPr id="25" name="Graphique 24">
            <a:extLst>
              <a:ext uri="{FF2B5EF4-FFF2-40B4-BE49-F238E27FC236}">
                <a16:creationId xmlns:a16="http://schemas.microsoft.com/office/drawing/2014/main" id="{32611279-B345-4965-BDF4-095890BD20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9410640"/>
              </p:ext>
            </p:extLst>
          </p:nvPr>
        </p:nvGraphicFramePr>
        <p:xfrm>
          <a:off x="523875" y="1755157"/>
          <a:ext cx="8096250" cy="3958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68381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DDEF392A-FD26-4A0B-81EB-79F6FC41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A6EACE21-660C-4599-89E4-65CAEF72C6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1A975-0625-4F3D-A82C-39F8E519511B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6FE753F-8BCC-47E6-A5AA-0A6B705DC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12F57B61-3359-4705-B879-115CDFBEE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4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Courbes</a:t>
            </a:r>
            <a:endParaRPr lang="fr-FR" dirty="0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F723C5C-2B30-47CF-8491-86F669426A4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9389414"/>
              </p:ext>
            </p:extLst>
          </p:nvPr>
        </p:nvGraphicFramePr>
        <p:xfrm>
          <a:off x="523875" y="1755156"/>
          <a:ext cx="8096250" cy="3958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59588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C2A2EB62-1525-4009-98F9-2FC9B4E63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20FB019C-9061-4896-B0F5-BEB04AE67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9AEDA-D827-4E15-9C05-AEACEFE01ED4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D758022-A504-427A-944A-812652E18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5D6B4E35-9771-48A1-BEA3-A0ACA99FAF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5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Tableau</a:t>
            </a:r>
            <a:endParaRPr lang="fr-FR" dirty="0"/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0923B334-2573-4B86-95AC-4F4F198790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8774517"/>
              </p:ext>
            </p:extLst>
          </p:nvPr>
        </p:nvGraphicFramePr>
        <p:xfrm>
          <a:off x="400051" y="1580105"/>
          <a:ext cx="8343901" cy="394223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529589">
                  <a:extLst>
                    <a:ext uri="{9D8B030D-6E8A-4147-A177-3AD203B41FA5}">
                      <a16:colId xmlns:a16="http://schemas.microsoft.com/office/drawing/2014/main" val="1817180339"/>
                    </a:ext>
                  </a:extLst>
                </a:gridCol>
                <a:gridCol w="3093720">
                  <a:extLst>
                    <a:ext uri="{9D8B030D-6E8A-4147-A177-3AD203B41FA5}">
                      <a16:colId xmlns:a16="http://schemas.microsoft.com/office/drawing/2014/main" val="220875845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3191465894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2258118658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3006977729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747827136"/>
                    </a:ext>
                  </a:extLst>
                </a:gridCol>
              </a:tblGrid>
              <a:tr h="512930"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2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3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4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2018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68580" marR="68580" marT="34290" marB="81000" anchor="b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6716855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#1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023289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2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176940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3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872355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4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476877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5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545272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6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82504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1106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21E2520-0CDC-42E6-94C7-E1B7565961D5}"/>
              </a:ext>
            </a:extLst>
          </p:cNvPr>
          <p:cNvSpPr/>
          <p:nvPr/>
        </p:nvSpPr>
        <p:spPr>
          <a:xfrm>
            <a:off x="0" y="3699430"/>
            <a:ext cx="9144000" cy="3158569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21" name="Titre 20">
            <a:extLst>
              <a:ext uri="{FF2B5EF4-FFF2-40B4-BE49-F238E27FC236}">
                <a16:creationId xmlns:a16="http://schemas.microsoft.com/office/drawing/2014/main" id="{49F97B8F-D532-4AE6-9843-9A8BCC2F2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458D264-4616-49B6-9C27-0DCDAB8C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8EF8E4-0BE9-43B9-B702-DBAF91181B5C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47F3408-DDEA-4798-8D95-7D3AD828C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2" name="Espace réservé du numéro de diapositive 21">
            <a:extLst>
              <a:ext uri="{FF2B5EF4-FFF2-40B4-BE49-F238E27FC236}">
                <a16:creationId xmlns:a16="http://schemas.microsoft.com/office/drawing/2014/main" id="{11489B20-4EF5-4FED-AA4A-735D70963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35906F7-3A87-42A9-9290-2DA6548D97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6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A7B768-7792-4ADC-9A3C-39E474620B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imeline 1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BD5CB395-7D7A-453D-AEC2-17D9E90369C2}"/>
              </a:ext>
            </a:extLst>
          </p:cNvPr>
          <p:cNvCxnSpPr/>
          <p:nvPr/>
        </p:nvCxnSpPr>
        <p:spPr>
          <a:xfrm>
            <a:off x="400954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EA92AA9A-32AA-41B5-ABF8-325066E43546}"/>
              </a:ext>
            </a:extLst>
          </p:cNvPr>
          <p:cNvCxnSpPr/>
          <p:nvPr/>
        </p:nvCxnSpPr>
        <p:spPr>
          <a:xfrm>
            <a:off x="1642078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CB4F79F0-FB2F-4B47-B277-023C7C0FB10C}"/>
              </a:ext>
            </a:extLst>
          </p:cNvPr>
          <p:cNvCxnSpPr/>
          <p:nvPr/>
        </p:nvCxnSpPr>
        <p:spPr>
          <a:xfrm>
            <a:off x="2883202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C5071E66-D3B2-4F9B-9FA0-7180C2492DDC}"/>
              </a:ext>
            </a:extLst>
          </p:cNvPr>
          <p:cNvCxnSpPr/>
          <p:nvPr/>
        </p:nvCxnSpPr>
        <p:spPr>
          <a:xfrm>
            <a:off x="4124326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86352FC4-170D-47BD-96FB-180C5572FE19}"/>
              </a:ext>
            </a:extLst>
          </p:cNvPr>
          <p:cNvCxnSpPr/>
          <p:nvPr/>
        </p:nvCxnSpPr>
        <p:spPr>
          <a:xfrm>
            <a:off x="5365449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08EC2906-317A-4913-A8CF-91B3B02A2E20}"/>
              </a:ext>
            </a:extLst>
          </p:cNvPr>
          <p:cNvCxnSpPr/>
          <p:nvPr/>
        </p:nvCxnSpPr>
        <p:spPr>
          <a:xfrm>
            <a:off x="6606573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AC15EF85-CD6C-4285-BD92-C44CD717648B}"/>
              </a:ext>
            </a:extLst>
          </p:cNvPr>
          <p:cNvCxnSpPr/>
          <p:nvPr/>
        </p:nvCxnSpPr>
        <p:spPr>
          <a:xfrm>
            <a:off x="7847697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e 36">
            <a:extLst>
              <a:ext uri="{FF2B5EF4-FFF2-40B4-BE49-F238E27FC236}">
                <a16:creationId xmlns:a16="http://schemas.microsoft.com/office/drawing/2014/main" id="{BBC9244C-DE75-4CD0-BB87-D7F09137E8BA}"/>
              </a:ext>
            </a:extLst>
          </p:cNvPr>
          <p:cNvGrpSpPr/>
          <p:nvPr/>
        </p:nvGrpSpPr>
        <p:grpSpPr>
          <a:xfrm>
            <a:off x="400954" y="3821906"/>
            <a:ext cx="4964495" cy="500063"/>
            <a:chOff x="1131505" y="3648075"/>
            <a:chExt cx="6619327" cy="600075"/>
          </a:xfrm>
        </p:grpSpPr>
        <p:cxnSp>
          <p:nvCxnSpPr>
            <p:cNvPr id="20" name="Connecteur droit 19">
              <a:extLst>
                <a:ext uri="{FF2B5EF4-FFF2-40B4-BE49-F238E27FC236}">
                  <a16:creationId xmlns:a16="http://schemas.microsoft.com/office/drawing/2014/main" id="{C8279B36-26A8-420E-B123-5721130610E4}"/>
                </a:ext>
              </a:extLst>
            </p:cNvPr>
            <p:cNvCxnSpPr>
              <a:cxnSpLocks/>
            </p:cNvCxnSpPr>
            <p:nvPr/>
          </p:nvCxnSpPr>
          <p:spPr>
            <a:xfrm>
              <a:off x="1131505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>
              <a:extLst>
                <a:ext uri="{FF2B5EF4-FFF2-40B4-BE49-F238E27FC236}">
                  <a16:creationId xmlns:a16="http://schemas.microsoft.com/office/drawing/2014/main" id="{AE127731-576A-4F3C-A587-ED58CE3C776F}"/>
                </a:ext>
              </a:extLst>
            </p:cNvPr>
            <p:cNvCxnSpPr>
              <a:cxnSpLocks/>
            </p:cNvCxnSpPr>
            <p:nvPr/>
          </p:nvCxnSpPr>
          <p:spPr>
            <a:xfrm>
              <a:off x="4441169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>
              <a:extLst>
                <a:ext uri="{FF2B5EF4-FFF2-40B4-BE49-F238E27FC236}">
                  <a16:creationId xmlns:a16="http://schemas.microsoft.com/office/drawing/2014/main" id="{38759CE8-4403-4BD1-B37C-18C914A6925E}"/>
                </a:ext>
              </a:extLst>
            </p:cNvPr>
            <p:cNvCxnSpPr>
              <a:cxnSpLocks/>
            </p:cNvCxnSpPr>
            <p:nvPr/>
          </p:nvCxnSpPr>
          <p:spPr>
            <a:xfrm>
              <a:off x="7750832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e 37">
            <a:extLst>
              <a:ext uri="{FF2B5EF4-FFF2-40B4-BE49-F238E27FC236}">
                <a16:creationId xmlns:a16="http://schemas.microsoft.com/office/drawing/2014/main" id="{6E5EBCED-0FFD-4867-B8F3-852B5A4674B8}"/>
              </a:ext>
            </a:extLst>
          </p:cNvPr>
          <p:cNvGrpSpPr/>
          <p:nvPr/>
        </p:nvGrpSpPr>
        <p:grpSpPr>
          <a:xfrm>
            <a:off x="1642078" y="3040141"/>
            <a:ext cx="4964495" cy="504352"/>
            <a:chOff x="2786337" y="2982916"/>
            <a:chExt cx="6619327" cy="600075"/>
          </a:xfrm>
        </p:grpSpPr>
        <p:cxnSp>
          <p:nvCxnSpPr>
            <p:cNvPr id="26" name="Connecteur droit 25">
              <a:extLst>
                <a:ext uri="{FF2B5EF4-FFF2-40B4-BE49-F238E27FC236}">
                  <a16:creationId xmlns:a16="http://schemas.microsoft.com/office/drawing/2014/main" id="{DF199233-639D-4043-8E25-E031E00D33B5}"/>
                </a:ext>
              </a:extLst>
            </p:cNvPr>
            <p:cNvCxnSpPr>
              <a:cxnSpLocks/>
            </p:cNvCxnSpPr>
            <p:nvPr/>
          </p:nvCxnSpPr>
          <p:spPr>
            <a:xfrm>
              <a:off x="2786337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>
              <a:extLst>
                <a:ext uri="{FF2B5EF4-FFF2-40B4-BE49-F238E27FC236}">
                  <a16:creationId xmlns:a16="http://schemas.microsoft.com/office/drawing/2014/main" id="{E3EB39E8-2120-4363-8C37-F7A4E2ECC348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1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B72CC2D7-FC0E-42BE-A865-473C030FBAED}"/>
                </a:ext>
              </a:extLst>
            </p:cNvPr>
            <p:cNvCxnSpPr>
              <a:cxnSpLocks/>
            </p:cNvCxnSpPr>
            <p:nvPr/>
          </p:nvCxnSpPr>
          <p:spPr>
            <a:xfrm>
              <a:off x="9405664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Espace réservé du texte 10">
            <a:extLst>
              <a:ext uri="{FF2B5EF4-FFF2-40B4-BE49-F238E27FC236}">
                <a16:creationId xmlns:a16="http://schemas.microsoft.com/office/drawing/2014/main" id="{52B4663A-B3C5-4998-BF45-225A52CE18C5}"/>
              </a:ext>
            </a:extLst>
          </p:cNvPr>
          <p:cNvSpPr txBox="1">
            <a:spLocks/>
          </p:cNvSpPr>
          <p:nvPr/>
        </p:nvSpPr>
        <p:spPr>
          <a:xfrm>
            <a:off x="1505743" y="2165569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31B01FC3-D024-4586-BEEE-0A409DC23D46}"/>
              </a:ext>
            </a:extLst>
          </p:cNvPr>
          <p:cNvSpPr txBox="1">
            <a:spLocks/>
          </p:cNvSpPr>
          <p:nvPr/>
        </p:nvSpPr>
        <p:spPr>
          <a:xfrm>
            <a:off x="3984721" y="2165569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2" name="Espace réservé du texte 10">
            <a:extLst>
              <a:ext uri="{FF2B5EF4-FFF2-40B4-BE49-F238E27FC236}">
                <a16:creationId xmlns:a16="http://schemas.microsoft.com/office/drawing/2014/main" id="{CD285C32-76C5-47D4-9A20-99C56AC97AE2}"/>
              </a:ext>
            </a:extLst>
          </p:cNvPr>
          <p:cNvSpPr txBox="1">
            <a:spLocks/>
          </p:cNvSpPr>
          <p:nvPr/>
        </p:nvSpPr>
        <p:spPr>
          <a:xfrm>
            <a:off x="6463698" y="2165569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3" name="Espace réservé du texte 10">
            <a:extLst>
              <a:ext uri="{FF2B5EF4-FFF2-40B4-BE49-F238E27FC236}">
                <a16:creationId xmlns:a16="http://schemas.microsoft.com/office/drawing/2014/main" id="{4B148B9E-290B-4190-AF2C-AFA0E1630A14}"/>
              </a:ext>
            </a:extLst>
          </p:cNvPr>
          <p:cNvSpPr txBox="1">
            <a:spLocks/>
          </p:cNvSpPr>
          <p:nvPr/>
        </p:nvSpPr>
        <p:spPr>
          <a:xfrm>
            <a:off x="245269" y="4338472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4" name="Espace réservé du texte 10">
            <a:extLst>
              <a:ext uri="{FF2B5EF4-FFF2-40B4-BE49-F238E27FC236}">
                <a16:creationId xmlns:a16="http://schemas.microsoft.com/office/drawing/2014/main" id="{1B4ED354-DF01-41A4-B8C9-94A561C1DBBE}"/>
              </a:ext>
            </a:extLst>
          </p:cNvPr>
          <p:cNvSpPr txBox="1">
            <a:spLocks/>
          </p:cNvSpPr>
          <p:nvPr/>
        </p:nvSpPr>
        <p:spPr>
          <a:xfrm>
            <a:off x="2724246" y="4338472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5" name="Espace réservé du texte 10">
            <a:extLst>
              <a:ext uri="{FF2B5EF4-FFF2-40B4-BE49-F238E27FC236}">
                <a16:creationId xmlns:a16="http://schemas.microsoft.com/office/drawing/2014/main" id="{78C855FE-8C5B-4E1F-A062-F092A6514F47}"/>
              </a:ext>
            </a:extLst>
          </p:cNvPr>
          <p:cNvSpPr txBox="1">
            <a:spLocks/>
          </p:cNvSpPr>
          <p:nvPr/>
        </p:nvSpPr>
        <p:spPr>
          <a:xfrm>
            <a:off x="5203223" y="4338472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1F2A7C9-3276-4F8F-94E5-81EF6ECB3C50}"/>
              </a:ext>
            </a:extLst>
          </p:cNvPr>
          <p:cNvSpPr txBox="1"/>
          <p:nvPr/>
        </p:nvSpPr>
        <p:spPr>
          <a:xfrm>
            <a:off x="400952" y="3348616"/>
            <a:ext cx="105028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4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EADAC59E-D92C-4FD3-92BB-CCA7FBE5A8E0}"/>
              </a:ext>
            </a:extLst>
          </p:cNvPr>
          <p:cNvSpPr txBox="1"/>
          <p:nvPr/>
        </p:nvSpPr>
        <p:spPr>
          <a:xfrm>
            <a:off x="1643965" y="3348616"/>
            <a:ext cx="1047082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5</a:t>
            </a: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162BB531-F78B-4D78-8F46-C632CCFC0186}"/>
              </a:ext>
            </a:extLst>
          </p:cNvPr>
          <p:cNvSpPr txBox="1"/>
          <p:nvPr/>
        </p:nvSpPr>
        <p:spPr>
          <a:xfrm>
            <a:off x="2886977" y="3348616"/>
            <a:ext cx="1059906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6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3FF7E58F-1D36-4621-B862-F71A18B2CB73}"/>
              </a:ext>
            </a:extLst>
          </p:cNvPr>
          <p:cNvSpPr txBox="1"/>
          <p:nvPr/>
        </p:nvSpPr>
        <p:spPr>
          <a:xfrm>
            <a:off x="4129990" y="3348616"/>
            <a:ext cx="102944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7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B707776D-8E17-43D8-9A05-FECE381BE41F}"/>
              </a:ext>
            </a:extLst>
          </p:cNvPr>
          <p:cNvSpPr txBox="1"/>
          <p:nvPr/>
        </p:nvSpPr>
        <p:spPr>
          <a:xfrm>
            <a:off x="5373002" y="3348616"/>
            <a:ext cx="1063112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8</a:t>
            </a:r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E5E49448-0641-4EBD-9E99-03733494EC89}"/>
              </a:ext>
            </a:extLst>
          </p:cNvPr>
          <p:cNvSpPr txBox="1"/>
          <p:nvPr/>
        </p:nvSpPr>
        <p:spPr>
          <a:xfrm>
            <a:off x="6616015" y="3348616"/>
            <a:ext cx="1059906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9</a:t>
            </a:r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8955A427-2A09-4214-8CE2-DB4F9D5A3474}"/>
              </a:ext>
            </a:extLst>
          </p:cNvPr>
          <p:cNvSpPr txBox="1"/>
          <p:nvPr/>
        </p:nvSpPr>
        <p:spPr>
          <a:xfrm>
            <a:off x="7859027" y="3348616"/>
            <a:ext cx="109837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59383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lèche : pentagone 17">
            <a:extLst>
              <a:ext uri="{FF2B5EF4-FFF2-40B4-BE49-F238E27FC236}">
                <a16:creationId xmlns:a16="http://schemas.microsoft.com/office/drawing/2014/main" id="{5BC2DBF5-9E41-4847-AB9F-2E825E6CB87C}"/>
              </a:ext>
            </a:extLst>
          </p:cNvPr>
          <p:cNvSpPr/>
          <p:nvPr/>
        </p:nvSpPr>
        <p:spPr>
          <a:xfrm>
            <a:off x="0" y="2001340"/>
            <a:ext cx="9015413" cy="363474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210256BF-5ABC-4AA2-8D03-7F66CE5741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458D264-4616-49B6-9C27-0DCDAB8C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8EF8E4-0BE9-43B9-B702-DBAF91181B5C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47F3408-DDEA-4798-8D95-7D3AD828C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2" name="Espace réservé du numéro de diapositive 21">
            <a:extLst>
              <a:ext uri="{FF2B5EF4-FFF2-40B4-BE49-F238E27FC236}">
                <a16:creationId xmlns:a16="http://schemas.microsoft.com/office/drawing/2014/main" id="{11489B20-4EF5-4FED-AA4A-735D70963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35906F7-3A87-42A9-9290-2DA6548D97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6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A7B768-7792-4ADC-9A3C-39E474620B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imeline 2</a:t>
            </a:r>
          </a:p>
        </p:txBody>
      </p:sp>
      <p:graphicFrame>
        <p:nvGraphicFramePr>
          <p:cNvPr id="10" name="Tableau 9">
            <a:extLst>
              <a:ext uri="{FF2B5EF4-FFF2-40B4-BE49-F238E27FC236}">
                <a16:creationId xmlns:a16="http://schemas.microsoft.com/office/drawing/2014/main" id="{F136F6E7-471D-4C19-A07B-62FE7AAC4E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6955236"/>
              </p:ext>
            </p:extLst>
          </p:nvPr>
        </p:nvGraphicFramePr>
        <p:xfrm>
          <a:off x="374197" y="2003437"/>
          <a:ext cx="8395604" cy="31882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3728">
                  <a:extLst>
                    <a:ext uri="{9D8B030D-6E8A-4147-A177-3AD203B41FA5}">
                      <a16:colId xmlns:a16="http://schemas.microsoft.com/office/drawing/2014/main" val="2719731400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715933734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957604500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3615655631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824178326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660789438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430216970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3434764773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4092112509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050779216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367069873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3595470207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24346412"/>
                    </a:ext>
                  </a:extLst>
                </a:gridCol>
              </a:tblGrid>
              <a:tr h="353213">
                <a:tc>
                  <a:txBody>
                    <a:bodyPr/>
                    <a:lstStyle/>
                    <a:p>
                      <a:pPr algn="r"/>
                      <a:endParaRPr lang="fr-FR" sz="900" dirty="0">
                        <a:solidFill>
                          <a:schemeClr val="bg1"/>
                        </a:solidFill>
                      </a:endParaRP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Jan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Fév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Mas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Avr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Mai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Juin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Juil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Août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Sept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Oct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Nov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Déc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2166197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1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4142243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2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8079077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3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3409835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4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558092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5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3700470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6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791213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7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8892314"/>
                  </a:ext>
                </a:extLst>
              </a:tr>
            </a:tbl>
          </a:graphicData>
        </a:graphic>
      </p:graphicFrame>
      <p:sp>
        <p:nvSpPr>
          <p:cNvPr id="47" name="Pentagon 46">
            <a:extLst>
              <a:ext uri="{FF2B5EF4-FFF2-40B4-BE49-F238E27FC236}">
                <a16:creationId xmlns:a16="http://schemas.microsoft.com/office/drawing/2014/main" id="{AFE2E06C-CABF-4997-8DCE-FF034678B998}"/>
              </a:ext>
            </a:extLst>
          </p:cNvPr>
          <p:cNvSpPr>
            <a:spLocks/>
          </p:cNvSpPr>
          <p:nvPr/>
        </p:nvSpPr>
        <p:spPr>
          <a:xfrm>
            <a:off x="1885950" y="2511788"/>
            <a:ext cx="2847975" cy="112122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8" name="Pentagon 47">
            <a:extLst>
              <a:ext uri="{FF2B5EF4-FFF2-40B4-BE49-F238E27FC236}">
                <a16:creationId xmlns:a16="http://schemas.microsoft.com/office/drawing/2014/main" id="{C6CEA1A4-2D8E-4D90-BA3E-92D238D6736B}"/>
              </a:ext>
            </a:extLst>
          </p:cNvPr>
          <p:cNvSpPr>
            <a:spLocks/>
          </p:cNvSpPr>
          <p:nvPr/>
        </p:nvSpPr>
        <p:spPr>
          <a:xfrm>
            <a:off x="1885950" y="2911047"/>
            <a:ext cx="4611292" cy="112122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9" name="Pentagon 48">
            <a:extLst>
              <a:ext uri="{FF2B5EF4-FFF2-40B4-BE49-F238E27FC236}">
                <a16:creationId xmlns:a16="http://schemas.microsoft.com/office/drawing/2014/main" id="{97F3E3CF-A098-4D1A-AD4A-6EC6C528145A}"/>
              </a:ext>
            </a:extLst>
          </p:cNvPr>
          <p:cNvSpPr>
            <a:spLocks/>
          </p:cNvSpPr>
          <p:nvPr/>
        </p:nvSpPr>
        <p:spPr>
          <a:xfrm>
            <a:off x="1885950" y="3291756"/>
            <a:ext cx="6779420" cy="112122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0" name="Pentagon 49">
            <a:extLst>
              <a:ext uri="{FF2B5EF4-FFF2-40B4-BE49-F238E27FC236}">
                <a16:creationId xmlns:a16="http://schemas.microsoft.com/office/drawing/2014/main" id="{903C9DFC-5B55-4C0F-AF9D-8A518D3CB511}"/>
              </a:ext>
            </a:extLst>
          </p:cNvPr>
          <p:cNvSpPr>
            <a:spLocks/>
          </p:cNvSpPr>
          <p:nvPr/>
        </p:nvSpPr>
        <p:spPr>
          <a:xfrm>
            <a:off x="1885950" y="3708154"/>
            <a:ext cx="1543050" cy="112122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1" name="Pentagon 50">
            <a:extLst>
              <a:ext uri="{FF2B5EF4-FFF2-40B4-BE49-F238E27FC236}">
                <a16:creationId xmlns:a16="http://schemas.microsoft.com/office/drawing/2014/main" id="{3EB43214-F61D-43FA-84C7-5EB4FB47B280}"/>
              </a:ext>
            </a:extLst>
          </p:cNvPr>
          <p:cNvSpPr>
            <a:spLocks/>
          </p:cNvSpPr>
          <p:nvPr/>
        </p:nvSpPr>
        <p:spPr>
          <a:xfrm>
            <a:off x="1885950" y="4124552"/>
            <a:ext cx="1543050" cy="112122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2" name="Pentagon 51">
            <a:extLst>
              <a:ext uri="{FF2B5EF4-FFF2-40B4-BE49-F238E27FC236}">
                <a16:creationId xmlns:a16="http://schemas.microsoft.com/office/drawing/2014/main" id="{F8086CFA-EA65-4796-B58B-04FF8DB9202C}"/>
              </a:ext>
            </a:extLst>
          </p:cNvPr>
          <p:cNvSpPr>
            <a:spLocks/>
          </p:cNvSpPr>
          <p:nvPr/>
        </p:nvSpPr>
        <p:spPr>
          <a:xfrm>
            <a:off x="1885950" y="4520011"/>
            <a:ext cx="3518297" cy="112122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3" name="Pentagon 52">
            <a:extLst>
              <a:ext uri="{FF2B5EF4-FFF2-40B4-BE49-F238E27FC236}">
                <a16:creationId xmlns:a16="http://schemas.microsoft.com/office/drawing/2014/main" id="{BC6018C1-E55B-446E-8F98-0EF9263DAFEC}"/>
              </a:ext>
            </a:extLst>
          </p:cNvPr>
          <p:cNvSpPr>
            <a:spLocks/>
          </p:cNvSpPr>
          <p:nvPr/>
        </p:nvSpPr>
        <p:spPr>
          <a:xfrm>
            <a:off x="1885950" y="4937920"/>
            <a:ext cx="2607470" cy="112122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</p:spTree>
    <p:extLst>
      <p:ext uri="{BB962C8B-B14F-4D97-AF65-F5344CB8AC3E}">
        <p14:creationId xmlns:p14="http://schemas.microsoft.com/office/powerpoint/2010/main" val="421357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068FCA4D-330F-4DE2-A122-F36798F8A5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0070E7C-E73D-4C55-A1B8-D84979253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DD129-9432-4EC5-A584-361F331C8534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756A3C2-3381-49F8-8AC5-4187286BE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7711A67A-D2B9-436B-9778-692F3EF16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6A4B82F-6622-4DAE-AE1E-C3D52A54A7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7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E49C35FB-2E3F-4B63-95CD-A1384E30BD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Organigramme</a:t>
            </a:r>
            <a:endParaRPr lang="fr-FR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34A3B79-69DE-43C1-B3B5-C6A9F1FFEE9A}"/>
              </a:ext>
            </a:extLst>
          </p:cNvPr>
          <p:cNvSpPr/>
          <p:nvPr/>
        </p:nvSpPr>
        <p:spPr>
          <a:xfrm>
            <a:off x="9215531" y="1477043"/>
            <a:ext cx="1414370" cy="733534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Modifier l’organigramm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e référer à slide Toolbox pour choisir différents types de connecteurs :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FB9D484-5017-4953-B586-71A7D14B66EF}"/>
              </a:ext>
            </a:extLst>
          </p:cNvPr>
          <p:cNvSpPr/>
          <p:nvPr/>
        </p:nvSpPr>
        <p:spPr>
          <a:xfrm>
            <a:off x="9215531" y="-5478"/>
            <a:ext cx="1414370" cy="1426031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les photos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c droit sur l’imag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oisir « Remplissage » puis « Image… » et cliquer sur « À partir d’un fichier »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ensuite l’image et dans « Outils de l’image », cliquer sur « Rogner » , puis « Remplir »</a:t>
            </a:r>
          </a:p>
        </p:txBody>
      </p:sp>
      <p:sp>
        <p:nvSpPr>
          <p:cNvPr id="30" name="Rectangle : coins arrondis 29">
            <a:hlinkClick r:id="" action="ppaction://noaction"/>
            <a:extLst>
              <a:ext uri="{FF2B5EF4-FFF2-40B4-BE49-F238E27FC236}">
                <a16:creationId xmlns:a16="http://schemas.microsoft.com/office/drawing/2014/main" id="{BA5D28C6-37A1-4D45-904A-1C1B21C674C9}"/>
              </a:ext>
            </a:extLst>
          </p:cNvPr>
          <p:cNvSpPr/>
          <p:nvPr/>
        </p:nvSpPr>
        <p:spPr>
          <a:xfrm>
            <a:off x="9215530" y="2267067"/>
            <a:ext cx="1414367" cy="309404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fr-FR" sz="825" b="1" dirty="0">
                <a:solidFill>
                  <a:prstClr val="white"/>
                </a:solidFill>
                <a:latin typeface="MAIF"/>
              </a:rPr>
              <a:t>Voir Toolbox </a:t>
            </a:r>
            <a:br>
              <a:rPr lang="fr-FR" sz="825" b="1" dirty="0">
                <a:solidFill>
                  <a:prstClr val="white"/>
                </a:solidFill>
                <a:latin typeface="MAIF"/>
              </a:rPr>
            </a:br>
            <a:r>
              <a:rPr lang="fr-FR" sz="825" b="1" dirty="0">
                <a:solidFill>
                  <a:prstClr val="white"/>
                </a:solidFill>
                <a:latin typeface="MAIF"/>
              </a:rPr>
              <a:t>CTRL + Clic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5061CF1-B3BB-44C9-A1CA-A80810871DBA}"/>
              </a:ext>
            </a:extLst>
          </p:cNvPr>
          <p:cNvSpPr/>
          <p:nvPr/>
        </p:nvSpPr>
        <p:spPr>
          <a:xfrm>
            <a:off x="3278612" y="2160720"/>
            <a:ext cx="1977176" cy="539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6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2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43" name="Rectangle 9">
            <a:extLst>
              <a:ext uri="{FF2B5EF4-FFF2-40B4-BE49-F238E27FC236}">
                <a16:creationId xmlns:a16="http://schemas.microsoft.com/office/drawing/2014/main" id="{A9C6692F-8352-44F0-BE27-5854173BB3F4}"/>
              </a:ext>
            </a:extLst>
          </p:cNvPr>
          <p:cNvSpPr/>
          <p:nvPr/>
        </p:nvSpPr>
        <p:spPr>
          <a:xfrm rot="5400000" flipV="1">
            <a:off x="5730003" y="685879"/>
            <a:ext cx="272508" cy="2436666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5" name="Rectangle 10">
            <a:extLst>
              <a:ext uri="{FF2B5EF4-FFF2-40B4-BE49-F238E27FC236}">
                <a16:creationId xmlns:a16="http://schemas.microsoft.com/office/drawing/2014/main" id="{853751CB-8A0C-4125-B299-9C404968DE4E}"/>
              </a:ext>
            </a:extLst>
          </p:cNvPr>
          <p:cNvSpPr/>
          <p:nvPr/>
        </p:nvSpPr>
        <p:spPr>
          <a:xfrm>
            <a:off x="1380326" y="2957067"/>
            <a:ext cx="5783952" cy="174168"/>
          </a:xfrm>
          <a:custGeom>
            <a:avLst/>
            <a:gdLst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0 w 1638300"/>
              <a:gd name="connsiteY3" fmla="*/ 1085850 h 1085850"/>
              <a:gd name="connsiteX4" fmla="*/ 0 w 1638300"/>
              <a:gd name="connsiteY4" fmla="*/ 0 h 1085850"/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809625 w 1638300"/>
              <a:gd name="connsiteY3" fmla="*/ 1085850 h 1085850"/>
              <a:gd name="connsiteX4" fmla="*/ 0 w 1638300"/>
              <a:gd name="connsiteY4" fmla="*/ 1085850 h 1085850"/>
              <a:gd name="connsiteX5" fmla="*/ 0 w 1638300"/>
              <a:gd name="connsiteY5" fmla="*/ 0 h 1085850"/>
              <a:gd name="connsiteX0" fmla="*/ 809625 w 1638300"/>
              <a:gd name="connsiteY0" fmla="*/ 1085850 h 1177290"/>
              <a:gd name="connsiteX1" fmla="*/ 0 w 1638300"/>
              <a:gd name="connsiteY1" fmla="*/ 1085850 h 1177290"/>
              <a:gd name="connsiteX2" fmla="*/ 0 w 1638300"/>
              <a:gd name="connsiteY2" fmla="*/ 0 h 1177290"/>
              <a:gd name="connsiteX3" fmla="*/ 1638300 w 1638300"/>
              <a:gd name="connsiteY3" fmla="*/ 0 h 1177290"/>
              <a:gd name="connsiteX4" fmla="*/ 1638300 w 1638300"/>
              <a:gd name="connsiteY4" fmla="*/ 1085850 h 1177290"/>
              <a:gd name="connsiteX5" fmla="*/ 901065 w 1638300"/>
              <a:gd name="connsiteY5" fmla="*/ 1177290 h 1177290"/>
              <a:gd name="connsiteX0" fmla="*/ 809625 w 1638300"/>
              <a:gd name="connsiteY0" fmla="*/ 1085850 h 1085850"/>
              <a:gd name="connsiteX1" fmla="*/ 0 w 1638300"/>
              <a:gd name="connsiteY1" fmla="*/ 1085850 h 1085850"/>
              <a:gd name="connsiteX2" fmla="*/ 0 w 1638300"/>
              <a:gd name="connsiteY2" fmla="*/ 0 h 1085850"/>
              <a:gd name="connsiteX3" fmla="*/ 1638300 w 1638300"/>
              <a:gd name="connsiteY3" fmla="*/ 0 h 1085850"/>
              <a:gd name="connsiteX4" fmla="*/ 1638300 w 1638300"/>
              <a:gd name="connsiteY4" fmla="*/ 1085850 h 1085850"/>
              <a:gd name="connsiteX0" fmla="*/ 0 w 1638300"/>
              <a:gd name="connsiteY0" fmla="*/ 1085850 h 1085850"/>
              <a:gd name="connsiteX1" fmla="*/ 0 w 1638300"/>
              <a:gd name="connsiteY1" fmla="*/ 0 h 1085850"/>
              <a:gd name="connsiteX2" fmla="*/ 1638300 w 1638300"/>
              <a:gd name="connsiteY2" fmla="*/ 0 h 1085850"/>
              <a:gd name="connsiteX3" fmla="*/ 1638300 w 1638300"/>
              <a:gd name="connsiteY3" fmla="*/ 1085850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8300" h="1085850">
                <a:moveTo>
                  <a:pt x="0" y="1085850"/>
                </a:moveTo>
                <a:lnTo>
                  <a:pt x="0" y="0"/>
                </a:lnTo>
                <a:lnTo>
                  <a:pt x="1638300" y="0"/>
                </a:lnTo>
                <a:lnTo>
                  <a:pt x="1638300" y="108585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cxnSp>
        <p:nvCxnSpPr>
          <p:cNvPr id="47" name="Connecteur droit 46">
            <a:extLst>
              <a:ext uri="{FF2B5EF4-FFF2-40B4-BE49-F238E27FC236}">
                <a16:creationId xmlns:a16="http://schemas.microsoft.com/office/drawing/2014/main" id="{32826CC2-CD59-4823-968E-97465B4F8B7D}"/>
              </a:ext>
            </a:extLst>
          </p:cNvPr>
          <p:cNvCxnSpPr>
            <a:cxnSpLocks/>
            <a:endCxn id="60" idx="0"/>
          </p:cNvCxnSpPr>
          <p:nvPr/>
        </p:nvCxnSpPr>
        <p:spPr>
          <a:xfrm flipH="1">
            <a:off x="4267200" y="2776319"/>
            <a:ext cx="2" cy="3320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736DF8AC-85D3-40EC-BAC2-7749A9D21BC6}"/>
              </a:ext>
            </a:extLst>
          </p:cNvPr>
          <p:cNvSpPr/>
          <p:nvPr/>
        </p:nvSpPr>
        <p:spPr>
          <a:xfrm>
            <a:off x="371265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DD2EA8E-9AA2-4B8B-8432-6891641CB033}"/>
              </a:ext>
            </a:extLst>
          </p:cNvPr>
          <p:cNvSpPr/>
          <p:nvPr/>
        </p:nvSpPr>
        <p:spPr>
          <a:xfrm>
            <a:off x="3283712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2B59C4E-4228-4544-AE1B-C9254DFBEF59}"/>
              </a:ext>
            </a:extLst>
          </p:cNvPr>
          <p:cNvSpPr/>
          <p:nvPr/>
        </p:nvSpPr>
        <p:spPr>
          <a:xfrm>
            <a:off x="6207978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id="{B219157B-2C0B-4A75-A2E2-AA18D4906AA6}"/>
              </a:ext>
            </a:extLst>
          </p:cNvPr>
          <p:cNvCxnSpPr>
            <a:cxnSpLocks/>
          </p:cNvCxnSpPr>
          <p:nvPr/>
        </p:nvCxnSpPr>
        <p:spPr>
          <a:xfrm>
            <a:off x="891325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droit 53">
            <a:extLst>
              <a:ext uri="{FF2B5EF4-FFF2-40B4-BE49-F238E27FC236}">
                <a16:creationId xmlns:a16="http://schemas.microsoft.com/office/drawing/2014/main" id="{F8229646-7FBB-43EF-872A-8E49E122BFD7}"/>
              </a:ext>
            </a:extLst>
          </p:cNvPr>
          <p:cNvCxnSpPr>
            <a:cxnSpLocks/>
          </p:cNvCxnSpPr>
          <p:nvPr/>
        </p:nvCxnSpPr>
        <p:spPr>
          <a:xfrm>
            <a:off x="3803772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EFE24196-ED5D-45AA-BE86-8D169EB4F817}"/>
              </a:ext>
            </a:extLst>
          </p:cNvPr>
          <p:cNvCxnSpPr>
            <a:cxnSpLocks/>
          </p:cNvCxnSpPr>
          <p:nvPr/>
        </p:nvCxnSpPr>
        <p:spPr>
          <a:xfrm>
            <a:off x="6809851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6" name="Tableau 55">
            <a:extLst>
              <a:ext uri="{FF2B5EF4-FFF2-40B4-BE49-F238E27FC236}">
                <a16:creationId xmlns:a16="http://schemas.microsoft.com/office/drawing/2014/main" id="{DC83EC23-FD5B-46B2-8B77-0F64EB1863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833049"/>
              </p:ext>
            </p:extLst>
          </p:nvPr>
        </p:nvGraphicFramePr>
        <p:xfrm>
          <a:off x="6723540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57" name="Oval 2">
            <a:extLst>
              <a:ext uri="{FF2B5EF4-FFF2-40B4-BE49-F238E27FC236}">
                <a16:creationId xmlns:a16="http://schemas.microsoft.com/office/drawing/2014/main" id="{9ADB7B09-5B3B-4CF1-851D-1518198D2F70}"/>
              </a:ext>
            </a:extLst>
          </p:cNvPr>
          <p:cNvSpPr/>
          <p:nvPr/>
        </p:nvSpPr>
        <p:spPr>
          <a:xfrm>
            <a:off x="3865213" y="1346578"/>
            <a:ext cx="803974" cy="80397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8" name="Oval 2">
            <a:extLst>
              <a:ext uri="{FF2B5EF4-FFF2-40B4-BE49-F238E27FC236}">
                <a16:creationId xmlns:a16="http://schemas.microsoft.com/office/drawing/2014/main" id="{E2226311-D071-446F-9ABE-EF2390FF7AF9}"/>
              </a:ext>
            </a:extLst>
          </p:cNvPr>
          <p:cNvSpPr/>
          <p:nvPr/>
        </p:nvSpPr>
        <p:spPr>
          <a:xfrm>
            <a:off x="6731589" y="2041402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9" name="Oval 2">
            <a:extLst>
              <a:ext uri="{FF2B5EF4-FFF2-40B4-BE49-F238E27FC236}">
                <a16:creationId xmlns:a16="http://schemas.microsoft.com/office/drawing/2014/main" id="{03EC19F2-D51B-4661-8568-0565716EEBEF}"/>
              </a:ext>
            </a:extLst>
          </p:cNvPr>
          <p:cNvSpPr/>
          <p:nvPr/>
        </p:nvSpPr>
        <p:spPr>
          <a:xfrm>
            <a:off x="1006419" y="3108382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0" name="Oval 2">
            <a:extLst>
              <a:ext uri="{FF2B5EF4-FFF2-40B4-BE49-F238E27FC236}">
                <a16:creationId xmlns:a16="http://schemas.microsoft.com/office/drawing/2014/main" id="{C0AD4906-BBE5-43B8-AD81-57CF9566D231}"/>
              </a:ext>
            </a:extLst>
          </p:cNvPr>
          <p:cNvSpPr/>
          <p:nvPr/>
        </p:nvSpPr>
        <p:spPr>
          <a:xfrm>
            <a:off x="3909878" y="3108382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1" name="Oval 2">
            <a:extLst>
              <a:ext uri="{FF2B5EF4-FFF2-40B4-BE49-F238E27FC236}">
                <a16:creationId xmlns:a16="http://schemas.microsoft.com/office/drawing/2014/main" id="{8D5A4C68-36FC-4143-A2E7-2033252DD236}"/>
              </a:ext>
            </a:extLst>
          </p:cNvPr>
          <p:cNvSpPr/>
          <p:nvPr/>
        </p:nvSpPr>
        <p:spPr>
          <a:xfrm>
            <a:off x="6804781" y="3108383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graphicFrame>
        <p:nvGraphicFramePr>
          <p:cNvPr id="65" name="Tableau 64">
            <a:extLst>
              <a:ext uri="{FF2B5EF4-FFF2-40B4-BE49-F238E27FC236}">
                <a16:creationId xmlns:a16="http://schemas.microsoft.com/office/drawing/2014/main" id="{E22F07F5-F198-43F9-96AF-1D797D3EE2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1802606"/>
              </p:ext>
            </p:extLst>
          </p:nvPr>
        </p:nvGraphicFramePr>
        <p:xfrm>
          <a:off x="3708476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graphicFrame>
        <p:nvGraphicFramePr>
          <p:cNvPr id="69" name="Tableau 68">
            <a:extLst>
              <a:ext uri="{FF2B5EF4-FFF2-40B4-BE49-F238E27FC236}">
                <a16:creationId xmlns:a16="http://schemas.microsoft.com/office/drawing/2014/main" id="{7B3CD9FA-A4CF-40CA-BD47-3ACD03DE86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8382887"/>
              </p:ext>
            </p:extLst>
          </p:nvPr>
        </p:nvGraphicFramePr>
        <p:xfrm>
          <a:off x="802805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73" name="Rectangle 72">
            <a:extLst>
              <a:ext uri="{FF2B5EF4-FFF2-40B4-BE49-F238E27FC236}">
                <a16:creationId xmlns:a16="http://schemas.microsoft.com/office/drawing/2014/main" id="{D3612624-5E62-4D07-8B7F-C909325F7351}"/>
              </a:ext>
            </a:extLst>
          </p:cNvPr>
          <p:cNvSpPr/>
          <p:nvPr/>
        </p:nvSpPr>
        <p:spPr>
          <a:xfrm>
            <a:off x="7440277" y="2171073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defTabSz="685800"/>
            <a:r>
              <a:rPr lang="fr-FR" sz="1200" dirty="0">
                <a:solidFill>
                  <a:srgbClr val="000000"/>
                </a:solidFill>
                <a:latin typeface="MAIF Medium"/>
              </a:rPr>
              <a:t>Prénom NOM</a:t>
            </a:r>
          </a:p>
          <a:p>
            <a:pPr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</p:spTree>
    <p:extLst>
      <p:ext uri="{BB962C8B-B14F-4D97-AF65-F5344CB8AC3E}">
        <p14:creationId xmlns:p14="http://schemas.microsoft.com/office/powerpoint/2010/main" val="300579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>
            <a:extLst>
              <a:ext uri="{FF2B5EF4-FFF2-40B4-BE49-F238E27FC236}">
                <a16:creationId xmlns:a16="http://schemas.microsoft.com/office/drawing/2014/main" id="{92236173-7B6D-4941-8C12-1DAD709E6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0070E7C-E73D-4C55-A1B8-D84979253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DD129-9432-4EC5-A584-361F331C8534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756A3C2-3381-49F8-8AC5-4187286BE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7711A67A-D2B9-436B-9778-692F3EF16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6A4B82F-6622-4DAE-AE1E-C3D52A54A7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7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E49C35FB-2E3F-4B63-95CD-A1384E30BD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Organigramme</a:t>
            </a:r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D025906-01C5-4189-BD1F-0454CA1594F5}"/>
              </a:ext>
            </a:extLst>
          </p:cNvPr>
          <p:cNvSpPr/>
          <p:nvPr/>
        </p:nvSpPr>
        <p:spPr>
          <a:xfrm>
            <a:off x="3278612" y="2160720"/>
            <a:ext cx="1977176" cy="539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6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2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E131076-5E11-4D8B-ABA4-8A0B09159307}"/>
              </a:ext>
            </a:extLst>
          </p:cNvPr>
          <p:cNvSpPr/>
          <p:nvPr/>
        </p:nvSpPr>
        <p:spPr>
          <a:xfrm rot="5400000" flipV="1">
            <a:off x="5730003" y="685879"/>
            <a:ext cx="272508" cy="2436666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1D2C835-ABD3-491F-A412-B15058D53458}"/>
              </a:ext>
            </a:extLst>
          </p:cNvPr>
          <p:cNvSpPr/>
          <p:nvPr/>
        </p:nvSpPr>
        <p:spPr>
          <a:xfrm>
            <a:off x="1380326" y="2957067"/>
            <a:ext cx="5783952" cy="174168"/>
          </a:xfrm>
          <a:custGeom>
            <a:avLst/>
            <a:gdLst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0 w 1638300"/>
              <a:gd name="connsiteY3" fmla="*/ 1085850 h 1085850"/>
              <a:gd name="connsiteX4" fmla="*/ 0 w 1638300"/>
              <a:gd name="connsiteY4" fmla="*/ 0 h 1085850"/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809625 w 1638300"/>
              <a:gd name="connsiteY3" fmla="*/ 1085850 h 1085850"/>
              <a:gd name="connsiteX4" fmla="*/ 0 w 1638300"/>
              <a:gd name="connsiteY4" fmla="*/ 1085850 h 1085850"/>
              <a:gd name="connsiteX5" fmla="*/ 0 w 1638300"/>
              <a:gd name="connsiteY5" fmla="*/ 0 h 1085850"/>
              <a:gd name="connsiteX0" fmla="*/ 809625 w 1638300"/>
              <a:gd name="connsiteY0" fmla="*/ 1085850 h 1177290"/>
              <a:gd name="connsiteX1" fmla="*/ 0 w 1638300"/>
              <a:gd name="connsiteY1" fmla="*/ 1085850 h 1177290"/>
              <a:gd name="connsiteX2" fmla="*/ 0 w 1638300"/>
              <a:gd name="connsiteY2" fmla="*/ 0 h 1177290"/>
              <a:gd name="connsiteX3" fmla="*/ 1638300 w 1638300"/>
              <a:gd name="connsiteY3" fmla="*/ 0 h 1177290"/>
              <a:gd name="connsiteX4" fmla="*/ 1638300 w 1638300"/>
              <a:gd name="connsiteY4" fmla="*/ 1085850 h 1177290"/>
              <a:gd name="connsiteX5" fmla="*/ 901065 w 1638300"/>
              <a:gd name="connsiteY5" fmla="*/ 1177290 h 1177290"/>
              <a:gd name="connsiteX0" fmla="*/ 809625 w 1638300"/>
              <a:gd name="connsiteY0" fmla="*/ 1085850 h 1085850"/>
              <a:gd name="connsiteX1" fmla="*/ 0 w 1638300"/>
              <a:gd name="connsiteY1" fmla="*/ 1085850 h 1085850"/>
              <a:gd name="connsiteX2" fmla="*/ 0 w 1638300"/>
              <a:gd name="connsiteY2" fmla="*/ 0 h 1085850"/>
              <a:gd name="connsiteX3" fmla="*/ 1638300 w 1638300"/>
              <a:gd name="connsiteY3" fmla="*/ 0 h 1085850"/>
              <a:gd name="connsiteX4" fmla="*/ 1638300 w 1638300"/>
              <a:gd name="connsiteY4" fmla="*/ 1085850 h 1085850"/>
              <a:gd name="connsiteX0" fmla="*/ 0 w 1638300"/>
              <a:gd name="connsiteY0" fmla="*/ 1085850 h 1085850"/>
              <a:gd name="connsiteX1" fmla="*/ 0 w 1638300"/>
              <a:gd name="connsiteY1" fmla="*/ 0 h 1085850"/>
              <a:gd name="connsiteX2" fmla="*/ 1638300 w 1638300"/>
              <a:gd name="connsiteY2" fmla="*/ 0 h 1085850"/>
              <a:gd name="connsiteX3" fmla="*/ 1638300 w 1638300"/>
              <a:gd name="connsiteY3" fmla="*/ 1085850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8300" h="1085850">
                <a:moveTo>
                  <a:pt x="0" y="1085850"/>
                </a:moveTo>
                <a:lnTo>
                  <a:pt x="0" y="0"/>
                </a:lnTo>
                <a:lnTo>
                  <a:pt x="1638300" y="0"/>
                </a:lnTo>
                <a:lnTo>
                  <a:pt x="1638300" y="108585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58A3B725-8BC9-40E2-8194-F9DC54C761DA}"/>
              </a:ext>
            </a:extLst>
          </p:cNvPr>
          <p:cNvCxnSpPr>
            <a:cxnSpLocks/>
            <a:endCxn id="46" idx="0"/>
          </p:cNvCxnSpPr>
          <p:nvPr/>
        </p:nvCxnSpPr>
        <p:spPr>
          <a:xfrm flipH="1">
            <a:off x="4267200" y="2776319"/>
            <a:ext cx="2" cy="3320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3CBA3A2F-F5EB-46D7-AC65-14C600DB40A3}"/>
              </a:ext>
            </a:extLst>
          </p:cNvPr>
          <p:cNvSpPr/>
          <p:nvPr/>
        </p:nvSpPr>
        <p:spPr>
          <a:xfrm>
            <a:off x="371265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C30813-014C-4C5E-AFFE-7CC26EC18599}"/>
              </a:ext>
            </a:extLst>
          </p:cNvPr>
          <p:cNvSpPr/>
          <p:nvPr/>
        </p:nvSpPr>
        <p:spPr>
          <a:xfrm>
            <a:off x="3283712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478884F-AC90-4598-8C7B-9E95F9BF1EF6}"/>
              </a:ext>
            </a:extLst>
          </p:cNvPr>
          <p:cNvSpPr/>
          <p:nvPr/>
        </p:nvSpPr>
        <p:spPr>
          <a:xfrm>
            <a:off x="6207978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F07D7B5-DF1C-4795-A77A-B01A247A2BA5}"/>
              </a:ext>
            </a:extLst>
          </p:cNvPr>
          <p:cNvSpPr/>
          <p:nvPr/>
        </p:nvSpPr>
        <p:spPr>
          <a:xfrm>
            <a:off x="7440277" y="2171073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defTabSz="685800"/>
            <a:r>
              <a:rPr lang="fr-FR" sz="1200" dirty="0">
                <a:solidFill>
                  <a:srgbClr val="000000"/>
                </a:solidFill>
                <a:latin typeface="MAIF Medium"/>
              </a:rPr>
              <a:t>Prénom NOM</a:t>
            </a:r>
          </a:p>
          <a:p>
            <a:pPr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46E71FE1-3F79-4A3A-B860-01C0A65B2589}"/>
              </a:ext>
            </a:extLst>
          </p:cNvPr>
          <p:cNvCxnSpPr>
            <a:cxnSpLocks/>
          </p:cNvCxnSpPr>
          <p:nvPr/>
        </p:nvCxnSpPr>
        <p:spPr>
          <a:xfrm>
            <a:off x="891325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>
            <a:extLst>
              <a:ext uri="{FF2B5EF4-FFF2-40B4-BE49-F238E27FC236}">
                <a16:creationId xmlns:a16="http://schemas.microsoft.com/office/drawing/2014/main" id="{8ED81162-53B3-4278-A614-EDC22E91F121}"/>
              </a:ext>
            </a:extLst>
          </p:cNvPr>
          <p:cNvCxnSpPr>
            <a:cxnSpLocks/>
          </p:cNvCxnSpPr>
          <p:nvPr/>
        </p:nvCxnSpPr>
        <p:spPr>
          <a:xfrm>
            <a:off x="3803772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eur droit 39">
            <a:extLst>
              <a:ext uri="{FF2B5EF4-FFF2-40B4-BE49-F238E27FC236}">
                <a16:creationId xmlns:a16="http://schemas.microsoft.com/office/drawing/2014/main" id="{A0ADA7E1-4A56-482B-98EE-08798B497021}"/>
              </a:ext>
            </a:extLst>
          </p:cNvPr>
          <p:cNvCxnSpPr>
            <a:cxnSpLocks/>
          </p:cNvCxnSpPr>
          <p:nvPr/>
        </p:nvCxnSpPr>
        <p:spPr>
          <a:xfrm>
            <a:off x="6809851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Tableau 40">
            <a:extLst>
              <a:ext uri="{FF2B5EF4-FFF2-40B4-BE49-F238E27FC236}">
                <a16:creationId xmlns:a16="http://schemas.microsoft.com/office/drawing/2014/main" id="{5E02A849-A53D-44CA-AA2B-D2069CCB81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9127409"/>
              </p:ext>
            </p:extLst>
          </p:nvPr>
        </p:nvGraphicFramePr>
        <p:xfrm>
          <a:off x="6723540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31" name="Oval 2">
            <a:extLst>
              <a:ext uri="{FF2B5EF4-FFF2-40B4-BE49-F238E27FC236}">
                <a16:creationId xmlns:a16="http://schemas.microsoft.com/office/drawing/2014/main" id="{167CA073-2E44-4C58-BE73-526AE65A835D}"/>
              </a:ext>
            </a:extLst>
          </p:cNvPr>
          <p:cNvSpPr/>
          <p:nvPr/>
        </p:nvSpPr>
        <p:spPr>
          <a:xfrm>
            <a:off x="3865213" y="1346578"/>
            <a:ext cx="803974" cy="80397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2" name="Oval 2">
            <a:extLst>
              <a:ext uri="{FF2B5EF4-FFF2-40B4-BE49-F238E27FC236}">
                <a16:creationId xmlns:a16="http://schemas.microsoft.com/office/drawing/2014/main" id="{46BBF09C-1605-4485-BA3C-0EFDC81E7BF9}"/>
              </a:ext>
            </a:extLst>
          </p:cNvPr>
          <p:cNvSpPr/>
          <p:nvPr/>
        </p:nvSpPr>
        <p:spPr>
          <a:xfrm>
            <a:off x="6731589" y="2041402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4" name="Oval 2">
            <a:extLst>
              <a:ext uri="{FF2B5EF4-FFF2-40B4-BE49-F238E27FC236}">
                <a16:creationId xmlns:a16="http://schemas.microsoft.com/office/drawing/2014/main" id="{5E81128A-6C5B-44B1-BCC4-04D0844A90D2}"/>
              </a:ext>
            </a:extLst>
          </p:cNvPr>
          <p:cNvSpPr/>
          <p:nvPr/>
        </p:nvSpPr>
        <p:spPr>
          <a:xfrm>
            <a:off x="1006419" y="3108382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6" name="Oval 2">
            <a:extLst>
              <a:ext uri="{FF2B5EF4-FFF2-40B4-BE49-F238E27FC236}">
                <a16:creationId xmlns:a16="http://schemas.microsoft.com/office/drawing/2014/main" id="{0EE4B29C-91FA-41B1-9570-420FF47BA91D}"/>
              </a:ext>
            </a:extLst>
          </p:cNvPr>
          <p:cNvSpPr/>
          <p:nvPr/>
        </p:nvSpPr>
        <p:spPr>
          <a:xfrm>
            <a:off x="3909878" y="3108382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8" name="Oval 2">
            <a:extLst>
              <a:ext uri="{FF2B5EF4-FFF2-40B4-BE49-F238E27FC236}">
                <a16:creationId xmlns:a16="http://schemas.microsoft.com/office/drawing/2014/main" id="{2BA11A1B-7315-447C-BA06-64299DD22FEE}"/>
              </a:ext>
            </a:extLst>
          </p:cNvPr>
          <p:cNvSpPr/>
          <p:nvPr/>
        </p:nvSpPr>
        <p:spPr>
          <a:xfrm>
            <a:off x="6804781" y="3108383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1" name="Oval 2">
            <a:extLst>
              <a:ext uri="{FF2B5EF4-FFF2-40B4-BE49-F238E27FC236}">
                <a16:creationId xmlns:a16="http://schemas.microsoft.com/office/drawing/2014/main" id="{7B3D9ED6-20E7-455A-810A-8D436520F9D1}"/>
              </a:ext>
            </a:extLst>
          </p:cNvPr>
          <p:cNvSpPr/>
          <p:nvPr/>
        </p:nvSpPr>
        <p:spPr>
          <a:xfrm>
            <a:off x="6415255" y="4337301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2" name="Oval 2">
            <a:extLst>
              <a:ext uri="{FF2B5EF4-FFF2-40B4-BE49-F238E27FC236}">
                <a16:creationId xmlns:a16="http://schemas.microsoft.com/office/drawing/2014/main" id="{873BD2FA-E65C-4990-9F31-87F7FEAC6CC8}"/>
              </a:ext>
            </a:extLst>
          </p:cNvPr>
          <p:cNvSpPr/>
          <p:nvPr/>
        </p:nvSpPr>
        <p:spPr>
          <a:xfrm>
            <a:off x="6415255" y="4710173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3" name="Oval 2">
            <a:extLst>
              <a:ext uri="{FF2B5EF4-FFF2-40B4-BE49-F238E27FC236}">
                <a16:creationId xmlns:a16="http://schemas.microsoft.com/office/drawing/2014/main" id="{925A900D-8BE3-4DFD-9C60-A4ECD9FBFE3C}"/>
              </a:ext>
            </a:extLst>
          </p:cNvPr>
          <p:cNvSpPr/>
          <p:nvPr/>
        </p:nvSpPr>
        <p:spPr>
          <a:xfrm>
            <a:off x="6415255" y="5083045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D3F5367-D7FE-4236-9D02-9FA9A2C04305}"/>
              </a:ext>
            </a:extLst>
          </p:cNvPr>
          <p:cNvSpPr/>
          <p:nvPr/>
        </p:nvSpPr>
        <p:spPr>
          <a:xfrm>
            <a:off x="9215531" y="1477043"/>
            <a:ext cx="1414370" cy="733534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Modifier l’organigramm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e référer à slide Toolbox pour choisir différents types de connecteurs :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041E719-E864-47C5-BEC7-59C8346D84AE}"/>
              </a:ext>
            </a:extLst>
          </p:cNvPr>
          <p:cNvSpPr/>
          <p:nvPr/>
        </p:nvSpPr>
        <p:spPr>
          <a:xfrm>
            <a:off x="9215531" y="-5478"/>
            <a:ext cx="1414370" cy="1426031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les photos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c droit sur l’image</a:t>
            </a:r>
          </a:p>
          <a:p>
            <a:pPr marL="128588" indent="-128588" defTabSz="685800"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oisir « Remplissage » puis « Image… » et cliquer sur « A partir d’un fichier »</a:t>
            </a:r>
          </a:p>
          <a:p>
            <a:pPr marL="128588" indent="-128588" defTabSz="685800"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ensuite l’image et dans « Outils de l’image », cliquer sur « Rogner » , puis « Remplir »</a:t>
            </a:r>
          </a:p>
        </p:txBody>
      </p:sp>
      <p:sp>
        <p:nvSpPr>
          <p:cNvPr id="57" name="Rectangle : coins arrondis 56">
            <a:hlinkClick r:id="" action="ppaction://noaction"/>
            <a:extLst>
              <a:ext uri="{FF2B5EF4-FFF2-40B4-BE49-F238E27FC236}">
                <a16:creationId xmlns:a16="http://schemas.microsoft.com/office/drawing/2014/main" id="{3A49C30C-B1AF-4A89-BA60-20731A3FB35B}"/>
              </a:ext>
            </a:extLst>
          </p:cNvPr>
          <p:cNvSpPr/>
          <p:nvPr/>
        </p:nvSpPr>
        <p:spPr>
          <a:xfrm>
            <a:off x="9215530" y="2267067"/>
            <a:ext cx="1414367" cy="309404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fr-FR" sz="825" b="1" dirty="0">
                <a:solidFill>
                  <a:prstClr val="white"/>
                </a:solidFill>
                <a:latin typeface="MAIF"/>
              </a:rPr>
              <a:t>Voir Toolbox </a:t>
            </a:r>
            <a:br>
              <a:rPr lang="fr-FR" sz="825" b="1" dirty="0">
                <a:solidFill>
                  <a:prstClr val="white"/>
                </a:solidFill>
                <a:latin typeface="MAIF"/>
              </a:rPr>
            </a:br>
            <a:r>
              <a:rPr lang="fr-FR" sz="825" b="1" dirty="0">
                <a:solidFill>
                  <a:prstClr val="white"/>
                </a:solidFill>
                <a:latin typeface="MAIF"/>
              </a:rPr>
              <a:t>CTRL + Clic</a:t>
            </a:r>
          </a:p>
        </p:txBody>
      </p:sp>
      <p:graphicFrame>
        <p:nvGraphicFramePr>
          <p:cNvPr id="61" name="Tableau 60">
            <a:extLst>
              <a:ext uri="{FF2B5EF4-FFF2-40B4-BE49-F238E27FC236}">
                <a16:creationId xmlns:a16="http://schemas.microsoft.com/office/drawing/2014/main" id="{25F2B86E-1C59-4F32-9D4C-8D2F5B88BA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239277"/>
              </p:ext>
            </p:extLst>
          </p:nvPr>
        </p:nvGraphicFramePr>
        <p:xfrm>
          <a:off x="3708476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62" name="Oval 2">
            <a:extLst>
              <a:ext uri="{FF2B5EF4-FFF2-40B4-BE49-F238E27FC236}">
                <a16:creationId xmlns:a16="http://schemas.microsoft.com/office/drawing/2014/main" id="{DFE31721-4C4D-4503-8B60-133A0546D87A}"/>
              </a:ext>
            </a:extLst>
          </p:cNvPr>
          <p:cNvSpPr/>
          <p:nvPr/>
        </p:nvSpPr>
        <p:spPr>
          <a:xfrm>
            <a:off x="3400191" y="4337301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3" name="Oval 2">
            <a:extLst>
              <a:ext uri="{FF2B5EF4-FFF2-40B4-BE49-F238E27FC236}">
                <a16:creationId xmlns:a16="http://schemas.microsoft.com/office/drawing/2014/main" id="{D7187EE8-EEA6-4EE8-92C6-207C672F8608}"/>
              </a:ext>
            </a:extLst>
          </p:cNvPr>
          <p:cNvSpPr/>
          <p:nvPr/>
        </p:nvSpPr>
        <p:spPr>
          <a:xfrm>
            <a:off x="3400191" y="4710173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4" name="Oval 2">
            <a:extLst>
              <a:ext uri="{FF2B5EF4-FFF2-40B4-BE49-F238E27FC236}">
                <a16:creationId xmlns:a16="http://schemas.microsoft.com/office/drawing/2014/main" id="{F3FFDA22-D25B-4B50-B9CF-BB5700930DE7}"/>
              </a:ext>
            </a:extLst>
          </p:cNvPr>
          <p:cNvSpPr/>
          <p:nvPr/>
        </p:nvSpPr>
        <p:spPr>
          <a:xfrm>
            <a:off x="3400191" y="5083045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graphicFrame>
        <p:nvGraphicFramePr>
          <p:cNvPr id="65" name="Tableau 64">
            <a:extLst>
              <a:ext uri="{FF2B5EF4-FFF2-40B4-BE49-F238E27FC236}">
                <a16:creationId xmlns:a16="http://schemas.microsoft.com/office/drawing/2014/main" id="{489C6E25-97EE-460D-835D-2DEF45AA2A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1274933"/>
              </p:ext>
            </p:extLst>
          </p:nvPr>
        </p:nvGraphicFramePr>
        <p:xfrm>
          <a:off x="802805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66" name="Oval 2">
            <a:extLst>
              <a:ext uri="{FF2B5EF4-FFF2-40B4-BE49-F238E27FC236}">
                <a16:creationId xmlns:a16="http://schemas.microsoft.com/office/drawing/2014/main" id="{55F6C525-C7B0-405A-90D1-0DF0444340D4}"/>
              </a:ext>
            </a:extLst>
          </p:cNvPr>
          <p:cNvSpPr/>
          <p:nvPr/>
        </p:nvSpPr>
        <p:spPr>
          <a:xfrm>
            <a:off x="494520" y="4337301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7" name="Oval 2">
            <a:extLst>
              <a:ext uri="{FF2B5EF4-FFF2-40B4-BE49-F238E27FC236}">
                <a16:creationId xmlns:a16="http://schemas.microsoft.com/office/drawing/2014/main" id="{07640BB1-3097-431E-8A8C-02EEC3546743}"/>
              </a:ext>
            </a:extLst>
          </p:cNvPr>
          <p:cNvSpPr/>
          <p:nvPr/>
        </p:nvSpPr>
        <p:spPr>
          <a:xfrm>
            <a:off x="494520" y="4710173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8" name="Oval 2">
            <a:extLst>
              <a:ext uri="{FF2B5EF4-FFF2-40B4-BE49-F238E27FC236}">
                <a16:creationId xmlns:a16="http://schemas.microsoft.com/office/drawing/2014/main" id="{E5D9879E-37CA-46A4-B1EA-AE8862F0FD46}"/>
              </a:ext>
            </a:extLst>
          </p:cNvPr>
          <p:cNvSpPr/>
          <p:nvPr/>
        </p:nvSpPr>
        <p:spPr>
          <a:xfrm>
            <a:off x="494520" y="5083045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</p:spTree>
    <p:extLst>
      <p:ext uri="{BB962C8B-B14F-4D97-AF65-F5344CB8AC3E}">
        <p14:creationId xmlns:p14="http://schemas.microsoft.com/office/powerpoint/2010/main" val="1515127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3DC7CBF-98F8-4EF9-9219-C4D2AAD954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28F7F94-228F-42A9-A3E5-D7C131863391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D5F1C94-F791-402B-ABC2-423D6DEAEC5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AEE048BE-4B76-4325-BE31-B790AFC3A9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34A0A6DB-5C7D-44B0-BC05-DA5FD3591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D111348-3451-48CE-B2A0-BA860CDA34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3DA3B073-6A47-4D1E-8DE6-64C6D05F37B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B41359D7-611D-4539-9800-F50D093B595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Graphique</a:t>
            </a:r>
            <a:endParaRPr lang="fr-FR" dirty="0"/>
          </a:p>
        </p:txBody>
      </p:sp>
      <p:graphicFrame>
        <p:nvGraphicFramePr>
          <p:cNvPr id="16" name="Graphique 15">
            <a:extLst>
              <a:ext uri="{FF2B5EF4-FFF2-40B4-BE49-F238E27FC236}">
                <a16:creationId xmlns:a16="http://schemas.microsoft.com/office/drawing/2014/main" id="{E65FACB8-AE2E-4402-AE50-201879B830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5883069"/>
              </p:ext>
            </p:extLst>
          </p:nvPr>
        </p:nvGraphicFramePr>
        <p:xfrm>
          <a:off x="485843" y="2082869"/>
          <a:ext cx="4124190" cy="3303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ZoneTexte 16">
            <a:extLst>
              <a:ext uri="{FF2B5EF4-FFF2-40B4-BE49-F238E27FC236}">
                <a16:creationId xmlns:a16="http://schemas.microsoft.com/office/drawing/2014/main" id="{DCB35F18-B00C-4D10-A5E6-9D4117E1ADBE}"/>
              </a:ext>
            </a:extLst>
          </p:cNvPr>
          <p:cNvSpPr txBox="1"/>
          <p:nvPr/>
        </p:nvSpPr>
        <p:spPr>
          <a:xfrm>
            <a:off x="1790086" y="3348210"/>
            <a:ext cx="1624164" cy="64633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 defTabSz="685800"/>
            <a:r>
              <a:rPr lang="fr-FR" dirty="0">
                <a:solidFill>
                  <a:srgbClr val="314051"/>
                </a:solidFill>
                <a:latin typeface="MAIF"/>
              </a:rPr>
              <a:t>Titre</a:t>
            </a:r>
            <a:br>
              <a:rPr lang="fr-FR" dirty="0">
                <a:solidFill>
                  <a:srgbClr val="314051"/>
                </a:solidFill>
                <a:latin typeface="MAIF"/>
              </a:rPr>
            </a:br>
            <a:r>
              <a:rPr lang="fr-FR" dirty="0">
                <a:solidFill>
                  <a:srgbClr val="314051"/>
                </a:solidFill>
                <a:latin typeface="MAIF"/>
              </a:rPr>
              <a:t>du graphique</a:t>
            </a:r>
          </a:p>
        </p:txBody>
      </p:sp>
    </p:spTree>
    <p:extLst>
      <p:ext uri="{BB962C8B-B14F-4D97-AF65-F5344CB8AC3E}">
        <p14:creationId xmlns:p14="http://schemas.microsoft.com/office/powerpoint/2010/main" val="309457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BFF2190E-FE24-4B62-AC9C-FC4017E87A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D008B01-1B54-41CB-AC72-47AB0D27476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C5666331-E6E5-4C8C-B5E7-7DAD0DCCC82F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tenu</a:t>
            </a:r>
          </a:p>
        </p:txBody>
      </p:sp>
    </p:spTree>
    <p:extLst>
      <p:ext uri="{BB962C8B-B14F-4D97-AF65-F5344CB8AC3E}">
        <p14:creationId xmlns:p14="http://schemas.microsoft.com/office/powerpoint/2010/main" val="796356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1CE02D38-B504-4A95-B43E-8258EAC96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D8F1C410-347F-4F43-B7A8-43282B750A1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isuel</a:t>
            </a:r>
          </a:p>
        </p:txBody>
      </p:sp>
    </p:spTree>
    <p:extLst>
      <p:ext uri="{BB962C8B-B14F-4D97-AF65-F5344CB8AC3E}">
        <p14:creationId xmlns:p14="http://schemas.microsoft.com/office/powerpoint/2010/main" val="1875490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962C97B-47B7-47D0-AB37-4A997E559A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61B20FC7-B43A-4C0B-8118-2E084C1D98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3515" y="1339200"/>
            <a:ext cx="4244550" cy="4834800"/>
          </a:xfrm>
        </p:spPr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Insérer une nouvelle slide / </a:t>
            </a:r>
            <a:br>
              <a:rPr lang="fr-FR" b="1" dirty="0">
                <a:solidFill>
                  <a:schemeClr val="bg2"/>
                </a:solidFill>
              </a:rPr>
            </a:br>
            <a:r>
              <a:rPr lang="fr-FR" b="1" dirty="0">
                <a:solidFill>
                  <a:schemeClr val="bg2"/>
                </a:solidFill>
              </a:rPr>
              <a:t>changer un modèle existant</a:t>
            </a:r>
          </a:p>
          <a:p>
            <a:pPr lvl="1"/>
            <a:r>
              <a:rPr lang="fr-FR" dirty="0"/>
              <a:t>Choisir un modèle de diapositive</a:t>
            </a:r>
            <a:br>
              <a:rPr lang="fr-FR" dirty="0"/>
            </a:br>
            <a:r>
              <a:rPr lang="fr-FR" dirty="0"/>
              <a:t>parmi ceux existants </a:t>
            </a:r>
            <a:br>
              <a:rPr lang="fr-FR" dirty="0"/>
            </a:br>
            <a:r>
              <a:rPr lang="fr-FR" dirty="0"/>
              <a:t>Pour insérer une nouvelle diapositive</a:t>
            </a:r>
          </a:p>
          <a:p>
            <a:pPr lvl="3"/>
            <a:r>
              <a:rPr lang="fr-FR" dirty="0"/>
              <a:t>Cliquer sur « Accueil », « Nouvelle diapositive »</a:t>
            </a:r>
          </a:p>
          <a:p>
            <a:pPr lvl="3"/>
            <a:r>
              <a:rPr lang="fr-FR" dirty="0"/>
              <a:t>Cliquer sur la flèche en dessous de « Nouvelle diapositive » </a:t>
            </a:r>
            <a:br>
              <a:rPr lang="fr-FR" dirty="0"/>
            </a:br>
            <a:r>
              <a:rPr lang="fr-FR" dirty="0"/>
              <a:t>et sélectionner le modèle correspondant </a:t>
            </a:r>
          </a:p>
          <a:p>
            <a:pPr lvl="1"/>
            <a:r>
              <a:rPr lang="fr-FR" dirty="0"/>
              <a:t>Pour modifier un modèle existant</a:t>
            </a:r>
          </a:p>
          <a:p>
            <a:pPr lvl="3"/>
            <a:r>
              <a:rPr lang="fr-FR" dirty="0"/>
              <a:t>Sélectionner la slide</a:t>
            </a:r>
          </a:p>
          <a:p>
            <a:pPr lvl="3"/>
            <a:r>
              <a:rPr lang="fr-FR" dirty="0"/>
              <a:t>Dans l’onglet « Accueil », choisir « Disposition » </a:t>
            </a:r>
          </a:p>
          <a:p>
            <a:pPr lvl="3"/>
            <a:r>
              <a:rPr lang="fr-FR" dirty="0"/>
              <a:t>Sélectionner le modèle souhaité (couverture, titre</a:t>
            </a:r>
            <a:br>
              <a:rPr lang="fr-FR" dirty="0"/>
            </a:br>
            <a:r>
              <a:rPr lang="fr-FR" dirty="0"/>
              <a:t>et contenu, chapitre…)</a:t>
            </a:r>
          </a:p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818C109-846C-4702-B9B8-C58FD7D138B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D6C314E-08A6-42A3-86E5-BCD50289A8BE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F113A46-1E6C-4343-86D4-FFDFD9EABDB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0" name="Espace réservé du numéro de diapositive 19">
            <a:extLst>
              <a:ext uri="{FF2B5EF4-FFF2-40B4-BE49-F238E27FC236}">
                <a16:creationId xmlns:a16="http://schemas.microsoft.com/office/drawing/2014/main" id="{699B0E60-02EF-4B22-A00D-1E683B2EEC8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3</a:t>
            </a:fld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CFF248B1-2B55-40EC-96D9-9A085969A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3</a:t>
            </a:r>
          </a:p>
        </p:txBody>
      </p:sp>
    </p:spTree>
    <p:extLst>
      <p:ext uri="{BB962C8B-B14F-4D97-AF65-F5344CB8AC3E}">
        <p14:creationId xmlns:p14="http://schemas.microsoft.com/office/powerpoint/2010/main" val="360171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1BDB41B1-4255-4EE9-B9BF-A7F01FB7745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014A737-3A9D-4B8F-BEAF-E02779EB9D28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3BF9527-C7B2-418A-B81B-448F1DC8D2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0A5D8919-66D2-4D10-965F-92D63C2BC5B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0D3AEFA4-FDC2-456F-BC69-EC11421EC8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A1BD86E-6FE7-4598-B9A8-21570B1902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588D7CB9-2D2A-49AE-9044-845B19353E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92E9A587-5B96-42F3-9E8C-18778AB785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Icon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35F6439-A7FD-4559-8FE2-43BC947831C1}"/>
              </a:ext>
            </a:extLst>
          </p:cNvPr>
          <p:cNvGrpSpPr>
            <a:grpSpLocks/>
          </p:cNvGrpSpPr>
          <p:nvPr/>
        </p:nvGrpSpPr>
        <p:grpSpPr bwMode="gray">
          <a:xfrm>
            <a:off x="1034753" y="2255521"/>
            <a:ext cx="2866828" cy="2868286"/>
            <a:chOff x="1752019" y="2236898"/>
            <a:chExt cx="3077738" cy="3079306"/>
          </a:xfrm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CFDEBF9E-5363-4C00-B0A9-92D25650300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752019" y="2236898"/>
              <a:ext cx="3077738" cy="3079306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314051"/>
                </a:solidFill>
                <a:latin typeface="MAIF"/>
              </a:endParaRPr>
            </a:p>
          </p:txBody>
        </p:sp>
        <p:pic>
          <p:nvPicPr>
            <p:cNvPr id="25" name="Graphique 24">
              <a:extLst>
                <a:ext uri="{FF2B5EF4-FFF2-40B4-BE49-F238E27FC236}">
                  <a16:creationId xmlns:a16="http://schemas.microsoft.com/office/drawing/2014/main" id="{68A24E7B-8BB7-44C3-A4F4-E760E49A68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 bwMode="gray">
            <a:xfrm>
              <a:off x="2273496" y="2924485"/>
              <a:ext cx="2034784" cy="17041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52991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63E861A3-F648-4CE7-BE7A-B7DD35A61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2E0FD614-E8CC-4739-9E04-28D69F7A8E8B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D008B01-1B54-41CB-AC72-47AB0D27476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tenu</a:t>
            </a:r>
          </a:p>
        </p:txBody>
      </p:sp>
    </p:spTree>
    <p:extLst>
      <p:ext uri="{BB962C8B-B14F-4D97-AF65-F5344CB8AC3E}">
        <p14:creationId xmlns:p14="http://schemas.microsoft.com/office/powerpoint/2010/main" val="3208027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CB6F8391-B30C-436E-9ACB-70941F1C1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054A4A43-1EC1-4ECC-8925-798BB75C70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isuel</a:t>
            </a:r>
          </a:p>
        </p:txBody>
      </p:sp>
    </p:spTree>
    <p:extLst>
      <p:ext uri="{BB962C8B-B14F-4D97-AF65-F5344CB8AC3E}">
        <p14:creationId xmlns:p14="http://schemas.microsoft.com/office/powerpoint/2010/main" val="2702158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D907395-BBF6-46E7-BF68-76973BE7C7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82D98D6-6AAC-4ECA-A2DA-C80B70123C5D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84A921F-0389-42BD-85F0-B080035114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E5E67ED9-D44F-4549-B10A-CA020261D1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9B579815-0015-43EE-9600-F22094D27D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6CF5A4BC-D09A-4419-A848-EC49DC9F4D1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4515" y="2776277"/>
            <a:ext cx="3875421" cy="2000548"/>
          </a:xfrm>
        </p:spPr>
        <p:txBody>
          <a:bodyPr/>
          <a:lstStyle/>
          <a:p>
            <a:r>
              <a:rPr lang="fr-FR" dirty="0"/>
              <a:t>52 %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0F347D3-4E26-4A4D-95CA-45D5C79A9F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F084801-0D33-4860-8A70-E53715D79E6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40D6292E-801B-4492-A532-1F88533B53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Chiff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55167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47" name="Titre 46">
            <a:extLst>
              <a:ext uri="{FF2B5EF4-FFF2-40B4-BE49-F238E27FC236}">
                <a16:creationId xmlns:a16="http://schemas.microsoft.com/office/drawing/2014/main" id="{E1C52DF0-EBA4-4609-9FCE-0CE0FD2AB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8" name="Espace réservé pour une image  47">
            <a:extLst>
              <a:ext uri="{FF2B5EF4-FFF2-40B4-BE49-F238E27FC236}">
                <a16:creationId xmlns:a16="http://schemas.microsoft.com/office/drawing/2014/main" id="{E21541BB-CCAA-4C11-AEB2-67D303DB039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49" name="Espace réservé pour une image  48">
            <a:extLst>
              <a:ext uri="{FF2B5EF4-FFF2-40B4-BE49-F238E27FC236}">
                <a16:creationId xmlns:a16="http://schemas.microsoft.com/office/drawing/2014/main" id="{DAAB36B1-5E5F-4AF5-9464-F4FC065B850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FCD62043-44E8-48CB-BB64-38C62988CDF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</p:sp>
      <p:sp>
        <p:nvSpPr>
          <p:cNvPr id="51" name="Espace réservé pour une image  50">
            <a:extLst>
              <a:ext uri="{FF2B5EF4-FFF2-40B4-BE49-F238E27FC236}">
                <a16:creationId xmlns:a16="http://schemas.microsoft.com/office/drawing/2014/main" id="{562674F8-0539-4B58-B4D6-E42CF9D5BC9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</p:sp>
      <p:sp>
        <p:nvSpPr>
          <p:cNvPr id="52" name="Espace réservé pour une image  51">
            <a:extLst>
              <a:ext uri="{FF2B5EF4-FFF2-40B4-BE49-F238E27FC236}">
                <a16:creationId xmlns:a16="http://schemas.microsoft.com/office/drawing/2014/main" id="{23F9FC2F-FE25-48D5-82C6-800CB1210B8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id="{260D6CD6-81B9-46B7-ADDD-C45CF642C8C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F99A7C21-3C0C-4734-8A76-99EBD12C05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isuel</a:t>
            </a:r>
          </a:p>
        </p:txBody>
      </p:sp>
    </p:spTree>
    <p:extLst>
      <p:ext uri="{BB962C8B-B14F-4D97-AF65-F5344CB8AC3E}">
        <p14:creationId xmlns:p14="http://schemas.microsoft.com/office/powerpoint/2010/main" val="1598362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D2653821-3D8A-47EF-8BCA-797232C6CB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DD17EEF5-0EBA-4DA4-9C46-0E09F6D081A3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Espace réservé du contenu 17">
            <a:extLst>
              <a:ext uri="{FF2B5EF4-FFF2-40B4-BE49-F238E27FC236}">
                <a16:creationId xmlns:a16="http://schemas.microsoft.com/office/drawing/2014/main" id="{A608EB14-9CC2-41B5-94FF-33185DA37A4B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9" name="Espace réservé du contenu 18">
            <a:extLst>
              <a:ext uri="{FF2B5EF4-FFF2-40B4-BE49-F238E27FC236}">
                <a16:creationId xmlns:a16="http://schemas.microsoft.com/office/drawing/2014/main" id="{26C71DE0-84F6-4A7E-A260-F6CF3185290C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F5F9D28-7E8C-42C0-A56B-21209D8B70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F122C53-56D6-4EBF-BDCF-96032568200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29" name="Espace réservé du texte 28">
            <a:extLst>
              <a:ext uri="{FF2B5EF4-FFF2-40B4-BE49-F238E27FC236}">
                <a16:creationId xmlns:a16="http://schemas.microsoft.com/office/drawing/2014/main" id="{BBB78202-C609-40A5-A917-CDBD03CC30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tenu</a:t>
            </a:r>
          </a:p>
        </p:txBody>
      </p:sp>
    </p:spTree>
    <p:extLst>
      <p:ext uri="{BB962C8B-B14F-4D97-AF65-F5344CB8AC3E}">
        <p14:creationId xmlns:p14="http://schemas.microsoft.com/office/powerpoint/2010/main" val="207029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2119927-3A7B-4B82-AE5D-5145002DC6F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BC97567-219C-404D-BC00-5E37C8840864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4FFD8A3-4DE3-4480-9DCB-EE6A369856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A4549AF0-3577-4AE5-AE63-3D999159B4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2" name="Titre 21">
            <a:extLst>
              <a:ext uri="{FF2B5EF4-FFF2-40B4-BE49-F238E27FC236}">
                <a16:creationId xmlns:a16="http://schemas.microsoft.com/office/drawing/2014/main" id="{C23C146A-8AA9-45E7-95FD-0F3823CFA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1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4108470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6B36746-C6FC-4FB2-9188-C8072318CFE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8A9A10-EAF4-4B0B-A8D6-E1DB0485DB80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BB05E2B-F705-4DB9-AC86-52419B0264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346274BD-326D-4A2C-9DBF-FD75EDD136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52D0B826-66DF-4520-B6EC-9C3377302F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2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81897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6B36746-C6FC-4FB2-9188-C8072318CFE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8A9A10-EAF4-4B0B-A8D6-E1DB0485DB80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BB05E2B-F705-4DB9-AC86-52419B0264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346274BD-326D-4A2C-9DBF-FD75EDD136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BD116B09-54A9-4AC0-B4D3-223DFD156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3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02260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itre 115">
            <a:extLst>
              <a:ext uri="{FF2B5EF4-FFF2-40B4-BE49-F238E27FC236}">
                <a16:creationId xmlns:a16="http://schemas.microsoft.com/office/drawing/2014/main" id="{D3D68312-2F73-4920-962E-E1EFC4D548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C7EB992-638C-4C0A-8BBB-F1A45C1D6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A5EC5-A781-43B0-9E3D-2F51247B7DBE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FAAF507-5C64-429B-9B2B-3024EE711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E47FD00-4A75-481F-BF7F-54EDC2DCD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B97B6D24-B9EE-440A-97AD-301B53D515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4CBA6855-6D64-441C-AA72-680C602B11D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arte de la France</a:t>
            </a:r>
          </a:p>
        </p:txBody>
      </p:sp>
      <p:grpSp>
        <p:nvGrpSpPr>
          <p:cNvPr id="12" name="Group 120">
            <a:extLst>
              <a:ext uri="{FF2B5EF4-FFF2-40B4-BE49-F238E27FC236}">
                <a16:creationId xmlns:a16="http://schemas.microsoft.com/office/drawing/2014/main" id="{FA4C846F-4158-47F3-9698-D3FCE4974F49}"/>
              </a:ext>
            </a:extLst>
          </p:cNvPr>
          <p:cNvGrpSpPr/>
          <p:nvPr/>
        </p:nvGrpSpPr>
        <p:grpSpPr>
          <a:xfrm>
            <a:off x="2022730" y="1507677"/>
            <a:ext cx="4892420" cy="4677224"/>
            <a:chOff x="1949444" y="1448015"/>
            <a:chExt cx="5004000" cy="4971757"/>
          </a:xfrm>
          <a:solidFill>
            <a:schemeClr val="bg1">
              <a:lumMod val="85000"/>
            </a:schemeClr>
          </a:solidFill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451A81A-3047-4524-ACA4-773F8B42C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5284" y="2022270"/>
              <a:ext cx="462168" cy="683272"/>
            </a:xfrm>
            <a:custGeom>
              <a:avLst/>
              <a:gdLst>
                <a:gd name="T0" fmla="*/ 32 w 301"/>
                <a:gd name="T1" fmla="*/ 334 h 445"/>
                <a:gd name="T2" fmla="*/ 27 w 301"/>
                <a:gd name="T3" fmla="*/ 349 h 445"/>
                <a:gd name="T4" fmla="*/ 49 w 301"/>
                <a:gd name="T5" fmla="*/ 355 h 445"/>
                <a:gd name="T6" fmla="*/ 49 w 301"/>
                <a:gd name="T7" fmla="*/ 383 h 445"/>
                <a:gd name="T8" fmla="*/ 72 w 301"/>
                <a:gd name="T9" fmla="*/ 413 h 445"/>
                <a:gd name="T10" fmla="*/ 125 w 301"/>
                <a:gd name="T11" fmla="*/ 445 h 445"/>
                <a:gd name="T12" fmla="*/ 172 w 301"/>
                <a:gd name="T13" fmla="*/ 385 h 445"/>
                <a:gd name="T14" fmla="*/ 148 w 301"/>
                <a:gd name="T15" fmla="*/ 375 h 445"/>
                <a:gd name="T16" fmla="*/ 159 w 301"/>
                <a:gd name="T17" fmla="*/ 336 h 445"/>
                <a:gd name="T18" fmla="*/ 189 w 301"/>
                <a:gd name="T19" fmla="*/ 332 h 445"/>
                <a:gd name="T20" fmla="*/ 165 w 301"/>
                <a:gd name="T21" fmla="*/ 311 h 445"/>
                <a:gd name="T22" fmla="*/ 163 w 301"/>
                <a:gd name="T23" fmla="*/ 275 h 445"/>
                <a:gd name="T24" fmla="*/ 212 w 301"/>
                <a:gd name="T25" fmla="*/ 264 h 445"/>
                <a:gd name="T26" fmla="*/ 229 w 301"/>
                <a:gd name="T27" fmla="*/ 243 h 445"/>
                <a:gd name="T28" fmla="*/ 257 w 301"/>
                <a:gd name="T29" fmla="*/ 260 h 445"/>
                <a:gd name="T30" fmla="*/ 261 w 301"/>
                <a:gd name="T31" fmla="*/ 241 h 445"/>
                <a:gd name="T32" fmla="*/ 255 w 301"/>
                <a:gd name="T33" fmla="*/ 166 h 445"/>
                <a:gd name="T34" fmla="*/ 255 w 301"/>
                <a:gd name="T35" fmla="*/ 162 h 445"/>
                <a:gd name="T36" fmla="*/ 301 w 301"/>
                <a:gd name="T37" fmla="*/ 124 h 445"/>
                <a:gd name="T38" fmla="*/ 301 w 301"/>
                <a:gd name="T39" fmla="*/ 41 h 445"/>
                <a:gd name="T40" fmla="*/ 280 w 301"/>
                <a:gd name="T41" fmla="*/ 32 h 445"/>
                <a:gd name="T42" fmla="*/ 178 w 301"/>
                <a:gd name="T43" fmla="*/ 0 h 445"/>
                <a:gd name="T44" fmla="*/ 155 w 301"/>
                <a:gd name="T45" fmla="*/ 15 h 445"/>
                <a:gd name="T46" fmla="*/ 142 w 301"/>
                <a:gd name="T47" fmla="*/ 5 h 445"/>
                <a:gd name="T48" fmla="*/ 125 w 301"/>
                <a:gd name="T49" fmla="*/ 20 h 445"/>
                <a:gd name="T50" fmla="*/ 51 w 301"/>
                <a:gd name="T51" fmla="*/ 20 h 445"/>
                <a:gd name="T52" fmla="*/ 59 w 301"/>
                <a:gd name="T53" fmla="*/ 30 h 445"/>
                <a:gd name="T54" fmla="*/ 23 w 301"/>
                <a:gd name="T55" fmla="*/ 88 h 445"/>
                <a:gd name="T56" fmla="*/ 38 w 301"/>
                <a:gd name="T57" fmla="*/ 132 h 445"/>
                <a:gd name="T58" fmla="*/ 34 w 301"/>
                <a:gd name="T59" fmla="*/ 200 h 445"/>
                <a:gd name="T60" fmla="*/ 49 w 301"/>
                <a:gd name="T61" fmla="*/ 228 h 445"/>
                <a:gd name="T62" fmla="*/ 0 w 301"/>
                <a:gd name="T63" fmla="*/ 273 h 445"/>
                <a:gd name="T64" fmla="*/ 19 w 301"/>
                <a:gd name="T65" fmla="*/ 307 h 445"/>
                <a:gd name="T66" fmla="*/ 32 w 301"/>
                <a:gd name="T67" fmla="*/ 334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1" h="445">
                  <a:moveTo>
                    <a:pt x="32" y="334"/>
                  </a:moveTo>
                  <a:lnTo>
                    <a:pt x="27" y="349"/>
                  </a:lnTo>
                  <a:lnTo>
                    <a:pt x="49" y="355"/>
                  </a:lnTo>
                  <a:lnTo>
                    <a:pt x="49" y="383"/>
                  </a:lnTo>
                  <a:lnTo>
                    <a:pt x="72" y="413"/>
                  </a:lnTo>
                  <a:lnTo>
                    <a:pt x="125" y="445"/>
                  </a:lnTo>
                  <a:lnTo>
                    <a:pt x="172" y="385"/>
                  </a:lnTo>
                  <a:lnTo>
                    <a:pt x="148" y="375"/>
                  </a:lnTo>
                  <a:lnTo>
                    <a:pt x="159" y="336"/>
                  </a:lnTo>
                  <a:lnTo>
                    <a:pt x="189" y="332"/>
                  </a:lnTo>
                  <a:lnTo>
                    <a:pt x="165" y="311"/>
                  </a:lnTo>
                  <a:lnTo>
                    <a:pt x="163" y="275"/>
                  </a:lnTo>
                  <a:lnTo>
                    <a:pt x="212" y="264"/>
                  </a:lnTo>
                  <a:lnTo>
                    <a:pt x="229" y="243"/>
                  </a:lnTo>
                  <a:lnTo>
                    <a:pt x="257" y="260"/>
                  </a:lnTo>
                  <a:lnTo>
                    <a:pt x="261" y="241"/>
                  </a:lnTo>
                  <a:lnTo>
                    <a:pt x="255" y="166"/>
                  </a:lnTo>
                  <a:lnTo>
                    <a:pt x="255" y="162"/>
                  </a:lnTo>
                  <a:lnTo>
                    <a:pt x="301" y="124"/>
                  </a:lnTo>
                  <a:lnTo>
                    <a:pt x="301" y="41"/>
                  </a:lnTo>
                  <a:lnTo>
                    <a:pt x="280" y="32"/>
                  </a:lnTo>
                  <a:lnTo>
                    <a:pt x="178" y="0"/>
                  </a:lnTo>
                  <a:lnTo>
                    <a:pt x="155" y="15"/>
                  </a:lnTo>
                  <a:lnTo>
                    <a:pt x="142" y="5"/>
                  </a:lnTo>
                  <a:lnTo>
                    <a:pt x="125" y="20"/>
                  </a:lnTo>
                  <a:lnTo>
                    <a:pt x="51" y="20"/>
                  </a:lnTo>
                  <a:lnTo>
                    <a:pt x="59" y="30"/>
                  </a:lnTo>
                  <a:lnTo>
                    <a:pt x="23" y="88"/>
                  </a:lnTo>
                  <a:lnTo>
                    <a:pt x="38" y="132"/>
                  </a:lnTo>
                  <a:lnTo>
                    <a:pt x="34" y="200"/>
                  </a:lnTo>
                  <a:lnTo>
                    <a:pt x="49" y="228"/>
                  </a:lnTo>
                  <a:lnTo>
                    <a:pt x="0" y="273"/>
                  </a:lnTo>
                  <a:lnTo>
                    <a:pt x="19" y="307"/>
                  </a:lnTo>
                  <a:lnTo>
                    <a:pt x="32" y="3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8F0DC9A-8F80-450E-8D02-97F69E0A8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5244" y="4595668"/>
              <a:ext cx="515908" cy="482128"/>
            </a:xfrm>
            <a:custGeom>
              <a:avLst/>
              <a:gdLst>
                <a:gd name="T0" fmla="*/ 3 w 336"/>
                <a:gd name="T1" fmla="*/ 191 h 314"/>
                <a:gd name="T2" fmla="*/ 28 w 336"/>
                <a:gd name="T3" fmla="*/ 251 h 314"/>
                <a:gd name="T4" fmla="*/ 15 w 336"/>
                <a:gd name="T5" fmla="*/ 285 h 314"/>
                <a:gd name="T6" fmla="*/ 37 w 336"/>
                <a:gd name="T7" fmla="*/ 314 h 314"/>
                <a:gd name="T8" fmla="*/ 66 w 336"/>
                <a:gd name="T9" fmla="*/ 297 h 314"/>
                <a:gd name="T10" fmla="*/ 107 w 336"/>
                <a:gd name="T11" fmla="*/ 304 h 314"/>
                <a:gd name="T12" fmla="*/ 141 w 336"/>
                <a:gd name="T13" fmla="*/ 231 h 314"/>
                <a:gd name="T14" fmla="*/ 175 w 336"/>
                <a:gd name="T15" fmla="*/ 200 h 314"/>
                <a:gd name="T16" fmla="*/ 183 w 336"/>
                <a:gd name="T17" fmla="*/ 227 h 314"/>
                <a:gd name="T18" fmla="*/ 207 w 336"/>
                <a:gd name="T19" fmla="*/ 223 h 314"/>
                <a:gd name="T20" fmla="*/ 226 w 336"/>
                <a:gd name="T21" fmla="*/ 257 h 314"/>
                <a:gd name="T22" fmla="*/ 236 w 336"/>
                <a:gd name="T23" fmla="*/ 308 h 314"/>
                <a:gd name="T24" fmla="*/ 241 w 336"/>
                <a:gd name="T25" fmla="*/ 302 h 314"/>
                <a:gd name="T26" fmla="*/ 268 w 336"/>
                <a:gd name="T27" fmla="*/ 221 h 314"/>
                <a:gd name="T28" fmla="*/ 290 w 336"/>
                <a:gd name="T29" fmla="*/ 227 h 314"/>
                <a:gd name="T30" fmla="*/ 304 w 336"/>
                <a:gd name="T31" fmla="*/ 200 h 314"/>
                <a:gd name="T32" fmla="*/ 336 w 336"/>
                <a:gd name="T33" fmla="*/ 189 h 314"/>
                <a:gd name="T34" fmla="*/ 317 w 336"/>
                <a:gd name="T35" fmla="*/ 140 h 314"/>
                <a:gd name="T36" fmla="*/ 334 w 336"/>
                <a:gd name="T37" fmla="*/ 140 h 314"/>
                <a:gd name="T38" fmla="*/ 300 w 336"/>
                <a:gd name="T39" fmla="*/ 78 h 314"/>
                <a:gd name="T40" fmla="*/ 264 w 336"/>
                <a:gd name="T41" fmla="*/ 72 h 314"/>
                <a:gd name="T42" fmla="*/ 264 w 336"/>
                <a:gd name="T43" fmla="*/ 68 h 314"/>
                <a:gd name="T44" fmla="*/ 270 w 336"/>
                <a:gd name="T45" fmla="*/ 49 h 314"/>
                <a:gd name="T46" fmla="*/ 245 w 336"/>
                <a:gd name="T47" fmla="*/ 72 h 314"/>
                <a:gd name="T48" fmla="*/ 213 w 336"/>
                <a:gd name="T49" fmla="*/ 36 h 314"/>
                <a:gd name="T50" fmla="*/ 168 w 336"/>
                <a:gd name="T51" fmla="*/ 36 h 314"/>
                <a:gd name="T52" fmla="*/ 162 w 336"/>
                <a:gd name="T53" fmla="*/ 17 h 314"/>
                <a:gd name="T54" fmla="*/ 117 w 336"/>
                <a:gd name="T55" fmla="*/ 0 h 314"/>
                <a:gd name="T56" fmla="*/ 119 w 336"/>
                <a:gd name="T57" fmla="*/ 36 h 314"/>
                <a:gd name="T58" fmla="*/ 77 w 336"/>
                <a:gd name="T59" fmla="*/ 25 h 314"/>
                <a:gd name="T60" fmla="*/ 77 w 336"/>
                <a:gd name="T61" fmla="*/ 51 h 314"/>
                <a:gd name="T62" fmla="*/ 37 w 336"/>
                <a:gd name="T63" fmla="*/ 93 h 314"/>
                <a:gd name="T64" fmla="*/ 45 w 336"/>
                <a:gd name="T65" fmla="*/ 112 h 314"/>
                <a:gd name="T66" fmla="*/ 28 w 336"/>
                <a:gd name="T67" fmla="*/ 144 h 314"/>
                <a:gd name="T68" fmla="*/ 9 w 336"/>
                <a:gd name="T69" fmla="*/ 155 h 314"/>
                <a:gd name="T70" fmla="*/ 20 w 336"/>
                <a:gd name="T71" fmla="*/ 180 h 314"/>
                <a:gd name="T72" fmla="*/ 0 w 336"/>
                <a:gd name="T73" fmla="*/ 183 h 314"/>
                <a:gd name="T74" fmla="*/ 3 w 336"/>
                <a:gd name="T75" fmla="*/ 19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36" h="314">
                  <a:moveTo>
                    <a:pt x="3" y="191"/>
                  </a:moveTo>
                  <a:lnTo>
                    <a:pt x="28" y="251"/>
                  </a:lnTo>
                  <a:lnTo>
                    <a:pt x="15" y="285"/>
                  </a:lnTo>
                  <a:lnTo>
                    <a:pt x="37" y="314"/>
                  </a:lnTo>
                  <a:lnTo>
                    <a:pt x="66" y="297"/>
                  </a:lnTo>
                  <a:lnTo>
                    <a:pt x="107" y="304"/>
                  </a:lnTo>
                  <a:lnTo>
                    <a:pt x="141" y="231"/>
                  </a:lnTo>
                  <a:lnTo>
                    <a:pt x="175" y="200"/>
                  </a:lnTo>
                  <a:lnTo>
                    <a:pt x="183" y="227"/>
                  </a:lnTo>
                  <a:lnTo>
                    <a:pt x="207" y="223"/>
                  </a:lnTo>
                  <a:lnTo>
                    <a:pt x="226" y="257"/>
                  </a:lnTo>
                  <a:lnTo>
                    <a:pt x="236" y="308"/>
                  </a:lnTo>
                  <a:lnTo>
                    <a:pt x="241" y="302"/>
                  </a:lnTo>
                  <a:lnTo>
                    <a:pt x="268" y="221"/>
                  </a:lnTo>
                  <a:lnTo>
                    <a:pt x="290" y="227"/>
                  </a:lnTo>
                  <a:lnTo>
                    <a:pt x="304" y="200"/>
                  </a:lnTo>
                  <a:lnTo>
                    <a:pt x="336" y="189"/>
                  </a:lnTo>
                  <a:lnTo>
                    <a:pt x="317" y="140"/>
                  </a:lnTo>
                  <a:lnTo>
                    <a:pt x="334" y="140"/>
                  </a:lnTo>
                  <a:lnTo>
                    <a:pt x="300" y="78"/>
                  </a:lnTo>
                  <a:lnTo>
                    <a:pt x="264" y="72"/>
                  </a:lnTo>
                  <a:lnTo>
                    <a:pt x="264" y="68"/>
                  </a:lnTo>
                  <a:lnTo>
                    <a:pt x="270" y="49"/>
                  </a:lnTo>
                  <a:lnTo>
                    <a:pt x="245" y="72"/>
                  </a:lnTo>
                  <a:lnTo>
                    <a:pt x="213" y="36"/>
                  </a:lnTo>
                  <a:lnTo>
                    <a:pt x="168" y="36"/>
                  </a:lnTo>
                  <a:lnTo>
                    <a:pt x="162" y="17"/>
                  </a:lnTo>
                  <a:lnTo>
                    <a:pt x="117" y="0"/>
                  </a:lnTo>
                  <a:lnTo>
                    <a:pt x="119" y="36"/>
                  </a:lnTo>
                  <a:lnTo>
                    <a:pt x="77" y="25"/>
                  </a:lnTo>
                  <a:lnTo>
                    <a:pt x="77" y="51"/>
                  </a:lnTo>
                  <a:lnTo>
                    <a:pt x="37" y="93"/>
                  </a:lnTo>
                  <a:lnTo>
                    <a:pt x="45" y="112"/>
                  </a:lnTo>
                  <a:lnTo>
                    <a:pt x="28" y="144"/>
                  </a:lnTo>
                  <a:lnTo>
                    <a:pt x="9" y="155"/>
                  </a:lnTo>
                  <a:lnTo>
                    <a:pt x="20" y="180"/>
                  </a:lnTo>
                  <a:lnTo>
                    <a:pt x="0" y="183"/>
                  </a:lnTo>
                  <a:lnTo>
                    <a:pt x="3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2B6371A-9B6F-4404-AC32-A7A4D38CC7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6659" y="4435983"/>
              <a:ext cx="511302" cy="466774"/>
            </a:xfrm>
            <a:custGeom>
              <a:avLst/>
              <a:gdLst>
                <a:gd name="T0" fmla="*/ 2 w 333"/>
                <a:gd name="T1" fmla="*/ 201 h 304"/>
                <a:gd name="T2" fmla="*/ 47 w 333"/>
                <a:gd name="T3" fmla="*/ 229 h 304"/>
                <a:gd name="T4" fmla="*/ 38 w 333"/>
                <a:gd name="T5" fmla="*/ 238 h 304"/>
                <a:gd name="T6" fmla="*/ 55 w 333"/>
                <a:gd name="T7" fmla="*/ 267 h 304"/>
                <a:gd name="T8" fmla="*/ 102 w 333"/>
                <a:gd name="T9" fmla="*/ 263 h 304"/>
                <a:gd name="T10" fmla="*/ 138 w 333"/>
                <a:gd name="T11" fmla="*/ 304 h 304"/>
                <a:gd name="T12" fmla="*/ 214 w 333"/>
                <a:gd name="T13" fmla="*/ 287 h 304"/>
                <a:gd name="T14" fmla="*/ 234 w 333"/>
                <a:gd name="T15" fmla="*/ 284 h 304"/>
                <a:gd name="T16" fmla="*/ 223 w 333"/>
                <a:gd name="T17" fmla="*/ 259 h 304"/>
                <a:gd name="T18" fmla="*/ 242 w 333"/>
                <a:gd name="T19" fmla="*/ 248 h 304"/>
                <a:gd name="T20" fmla="*/ 259 w 333"/>
                <a:gd name="T21" fmla="*/ 216 h 304"/>
                <a:gd name="T22" fmla="*/ 251 w 333"/>
                <a:gd name="T23" fmla="*/ 197 h 304"/>
                <a:gd name="T24" fmla="*/ 291 w 333"/>
                <a:gd name="T25" fmla="*/ 155 h 304"/>
                <a:gd name="T26" fmla="*/ 291 w 333"/>
                <a:gd name="T27" fmla="*/ 129 h 304"/>
                <a:gd name="T28" fmla="*/ 333 w 333"/>
                <a:gd name="T29" fmla="*/ 140 h 304"/>
                <a:gd name="T30" fmla="*/ 331 w 333"/>
                <a:gd name="T31" fmla="*/ 104 h 304"/>
                <a:gd name="T32" fmla="*/ 327 w 333"/>
                <a:gd name="T33" fmla="*/ 10 h 304"/>
                <a:gd name="T34" fmla="*/ 270 w 333"/>
                <a:gd name="T35" fmla="*/ 36 h 304"/>
                <a:gd name="T36" fmla="*/ 214 w 333"/>
                <a:gd name="T37" fmla="*/ 0 h 304"/>
                <a:gd name="T38" fmla="*/ 176 w 333"/>
                <a:gd name="T39" fmla="*/ 21 h 304"/>
                <a:gd name="T40" fmla="*/ 10 w 333"/>
                <a:gd name="T41" fmla="*/ 110 h 304"/>
                <a:gd name="T42" fmla="*/ 27 w 333"/>
                <a:gd name="T43" fmla="*/ 133 h 304"/>
                <a:gd name="T44" fmla="*/ 4 w 333"/>
                <a:gd name="T45" fmla="*/ 157 h 304"/>
                <a:gd name="T46" fmla="*/ 15 w 333"/>
                <a:gd name="T47" fmla="*/ 184 h 304"/>
                <a:gd name="T48" fmla="*/ 0 w 333"/>
                <a:gd name="T49" fmla="*/ 195 h 304"/>
                <a:gd name="T50" fmla="*/ 2 w 333"/>
                <a:gd name="T51" fmla="*/ 201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33" h="304">
                  <a:moveTo>
                    <a:pt x="2" y="201"/>
                  </a:moveTo>
                  <a:lnTo>
                    <a:pt x="47" y="229"/>
                  </a:lnTo>
                  <a:lnTo>
                    <a:pt x="38" y="238"/>
                  </a:lnTo>
                  <a:lnTo>
                    <a:pt x="55" y="267"/>
                  </a:lnTo>
                  <a:lnTo>
                    <a:pt x="102" y="263"/>
                  </a:lnTo>
                  <a:lnTo>
                    <a:pt x="138" y="304"/>
                  </a:lnTo>
                  <a:lnTo>
                    <a:pt x="214" y="287"/>
                  </a:lnTo>
                  <a:lnTo>
                    <a:pt x="234" y="284"/>
                  </a:lnTo>
                  <a:lnTo>
                    <a:pt x="223" y="259"/>
                  </a:lnTo>
                  <a:lnTo>
                    <a:pt x="242" y="248"/>
                  </a:lnTo>
                  <a:lnTo>
                    <a:pt x="259" y="216"/>
                  </a:lnTo>
                  <a:lnTo>
                    <a:pt x="251" y="197"/>
                  </a:lnTo>
                  <a:lnTo>
                    <a:pt x="291" y="155"/>
                  </a:lnTo>
                  <a:lnTo>
                    <a:pt x="291" y="129"/>
                  </a:lnTo>
                  <a:lnTo>
                    <a:pt x="333" y="140"/>
                  </a:lnTo>
                  <a:lnTo>
                    <a:pt x="331" y="104"/>
                  </a:lnTo>
                  <a:lnTo>
                    <a:pt x="327" y="10"/>
                  </a:lnTo>
                  <a:lnTo>
                    <a:pt x="270" y="36"/>
                  </a:lnTo>
                  <a:lnTo>
                    <a:pt x="214" y="0"/>
                  </a:lnTo>
                  <a:lnTo>
                    <a:pt x="176" y="21"/>
                  </a:lnTo>
                  <a:lnTo>
                    <a:pt x="10" y="110"/>
                  </a:lnTo>
                  <a:lnTo>
                    <a:pt x="27" y="133"/>
                  </a:lnTo>
                  <a:lnTo>
                    <a:pt x="4" y="157"/>
                  </a:lnTo>
                  <a:lnTo>
                    <a:pt x="15" y="184"/>
                  </a:lnTo>
                  <a:lnTo>
                    <a:pt x="0" y="195"/>
                  </a:lnTo>
                  <a:lnTo>
                    <a:pt x="2" y="20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00D2C4D-1EF4-43ED-81DF-72EEB00F9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0130" y="4670906"/>
              <a:ext cx="460632" cy="684807"/>
            </a:xfrm>
            <a:custGeom>
              <a:avLst/>
              <a:gdLst>
                <a:gd name="T0" fmla="*/ 0 w 300"/>
                <a:gd name="T1" fmla="*/ 363 h 446"/>
                <a:gd name="T2" fmla="*/ 13 w 300"/>
                <a:gd name="T3" fmla="*/ 284 h 446"/>
                <a:gd name="T4" fmla="*/ 34 w 300"/>
                <a:gd name="T5" fmla="*/ 253 h 446"/>
                <a:gd name="T6" fmla="*/ 28 w 300"/>
                <a:gd name="T7" fmla="*/ 210 h 446"/>
                <a:gd name="T8" fmla="*/ 58 w 300"/>
                <a:gd name="T9" fmla="*/ 148 h 446"/>
                <a:gd name="T10" fmla="*/ 34 w 300"/>
                <a:gd name="T11" fmla="*/ 17 h 446"/>
                <a:gd name="T12" fmla="*/ 87 w 300"/>
                <a:gd name="T13" fmla="*/ 0 h 446"/>
                <a:gd name="T14" fmla="*/ 104 w 300"/>
                <a:gd name="T15" fmla="*/ 21 h 446"/>
                <a:gd name="T16" fmla="*/ 119 w 300"/>
                <a:gd name="T17" fmla="*/ 17 h 446"/>
                <a:gd name="T18" fmla="*/ 117 w 300"/>
                <a:gd name="T19" fmla="*/ 34 h 446"/>
                <a:gd name="T20" fmla="*/ 136 w 300"/>
                <a:gd name="T21" fmla="*/ 44 h 446"/>
                <a:gd name="T22" fmla="*/ 121 w 300"/>
                <a:gd name="T23" fmla="*/ 97 h 446"/>
                <a:gd name="T24" fmla="*/ 187 w 300"/>
                <a:gd name="T25" fmla="*/ 110 h 446"/>
                <a:gd name="T26" fmla="*/ 213 w 300"/>
                <a:gd name="T27" fmla="*/ 93 h 446"/>
                <a:gd name="T28" fmla="*/ 209 w 300"/>
                <a:gd name="T29" fmla="*/ 195 h 446"/>
                <a:gd name="T30" fmla="*/ 300 w 300"/>
                <a:gd name="T31" fmla="*/ 227 h 446"/>
                <a:gd name="T32" fmla="*/ 296 w 300"/>
                <a:gd name="T33" fmla="*/ 246 h 446"/>
                <a:gd name="T34" fmla="*/ 257 w 300"/>
                <a:gd name="T35" fmla="*/ 248 h 446"/>
                <a:gd name="T36" fmla="*/ 247 w 300"/>
                <a:gd name="T37" fmla="*/ 287 h 446"/>
                <a:gd name="T38" fmla="*/ 264 w 300"/>
                <a:gd name="T39" fmla="*/ 301 h 446"/>
                <a:gd name="T40" fmla="*/ 251 w 300"/>
                <a:gd name="T41" fmla="*/ 314 h 446"/>
                <a:gd name="T42" fmla="*/ 211 w 300"/>
                <a:gd name="T43" fmla="*/ 306 h 446"/>
                <a:gd name="T44" fmla="*/ 221 w 300"/>
                <a:gd name="T45" fmla="*/ 331 h 446"/>
                <a:gd name="T46" fmla="*/ 202 w 300"/>
                <a:gd name="T47" fmla="*/ 333 h 446"/>
                <a:gd name="T48" fmla="*/ 206 w 300"/>
                <a:gd name="T49" fmla="*/ 338 h 446"/>
                <a:gd name="T50" fmla="*/ 223 w 300"/>
                <a:gd name="T51" fmla="*/ 363 h 446"/>
                <a:gd name="T52" fmla="*/ 257 w 300"/>
                <a:gd name="T53" fmla="*/ 363 h 446"/>
                <a:gd name="T54" fmla="*/ 272 w 300"/>
                <a:gd name="T55" fmla="*/ 416 h 446"/>
                <a:gd name="T56" fmla="*/ 274 w 300"/>
                <a:gd name="T57" fmla="*/ 431 h 446"/>
                <a:gd name="T58" fmla="*/ 247 w 300"/>
                <a:gd name="T59" fmla="*/ 416 h 446"/>
                <a:gd name="T60" fmla="*/ 226 w 300"/>
                <a:gd name="T61" fmla="*/ 446 h 446"/>
                <a:gd name="T62" fmla="*/ 187 w 300"/>
                <a:gd name="T63" fmla="*/ 410 h 446"/>
                <a:gd name="T64" fmla="*/ 138 w 300"/>
                <a:gd name="T65" fmla="*/ 408 h 446"/>
                <a:gd name="T66" fmla="*/ 136 w 300"/>
                <a:gd name="T67" fmla="*/ 376 h 446"/>
                <a:gd name="T68" fmla="*/ 47 w 300"/>
                <a:gd name="T69" fmla="*/ 408 h 446"/>
                <a:gd name="T70" fmla="*/ 43 w 300"/>
                <a:gd name="T71" fmla="*/ 380 h 446"/>
                <a:gd name="T72" fmla="*/ 2 w 300"/>
                <a:gd name="T73" fmla="*/ 372 h 446"/>
                <a:gd name="T74" fmla="*/ 0 w 300"/>
                <a:gd name="T75" fmla="*/ 370 h 446"/>
                <a:gd name="T76" fmla="*/ 0 w 300"/>
                <a:gd name="T77" fmla="*/ 363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00" h="446">
                  <a:moveTo>
                    <a:pt x="0" y="363"/>
                  </a:moveTo>
                  <a:lnTo>
                    <a:pt x="13" y="284"/>
                  </a:lnTo>
                  <a:lnTo>
                    <a:pt x="34" y="253"/>
                  </a:lnTo>
                  <a:lnTo>
                    <a:pt x="28" y="210"/>
                  </a:lnTo>
                  <a:lnTo>
                    <a:pt x="58" y="148"/>
                  </a:lnTo>
                  <a:lnTo>
                    <a:pt x="34" y="17"/>
                  </a:lnTo>
                  <a:lnTo>
                    <a:pt x="87" y="0"/>
                  </a:lnTo>
                  <a:lnTo>
                    <a:pt x="104" y="21"/>
                  </a:lnTo>
                  <a:lnTo>
                    <a:pt x="119" y="17"/>
                  </a:lnTo>
                  <a:lnTo>
                    <a:pt x="117" y="34"/>
                  </a:lnTo>
                  <a:lnTo>
                    <a:pt x="136" y="44"/>
                  </a:lnTo>
                  <a:lnTo>
                    <a:pt x="121" y="97"/>
                  </a:lnTo>
                  <a:lnTo>
                    <a:pt x="187" y="110"/>
                  </a:lnTo>
                  <a:lnTo>
                    <a:pt x="213" y="93"/>
                  </a:lnTo>
                  <a:lnTo>
                    <a:pt x="209" y="195"/>
                  </a:lnTo>
                  <a:lnTo>
                    <a:pt x="300" y="227"/>
                  </a:lnTo>
                  <a:lnTo>
                    <a:pt x="296" y="246"/>
                  </a:lnTo>
                  <a:lnTo>
                    <a:pt x="257" y="248"/>
                  </a:lnTo>
                  <a:lnTo>
                    <a:pt x="247" y="287"/>
                  </a:lnTo>
                  <a:lnTo>
                    <a:pt x="264" y="301"/>
                  </a:lnTo>
                  <a:lnTo>
                    <a:pt x="251" y="314"/>
                  </a:lnTo>
                  <a:lnTo>
                    <a:pt x="211" y="306"/>
                  </a:lnTo>
                  <a:lnTo>
                    <a:pt x="221" y="331"/>
                  </a:lnTo>
                  <a:lnTo>
                    <a:pt x="202" y="333"/>
                  </a:lnTo>
                  <a:lnTo>
                    <a:pt x="206" y="338"/>
                  </a:lnTo>
                  <a:lnTo>
                    <a:pt x="223" y="363"/>
                  </a:lnTo>
                  <a:lnTo>
                    <a:pt x="257" y="363"/>
                  </a:lnTo>
                  <a:lnTo>
                    <a:pt x="272" y="416"/>
                  </a:lnTo>
                  <a:lnTo>
                    <a:pt x="274" y="431"/>
                  </a:lnTo>
                  <a:lnTo>
                    <a:pt x="247" y="416"/>
                  </a:lnTo>
                  <a:lnTo>
                    <a:pt x="226" y="446"/>
                  </a:lnTo>
                  <a:lnTo>
                    <a:pt x="187" y="410"/>
                  </a:lnTo>
                  <a:lnTo>
                    <a:pt x="138" y="408"/>
                  </a:lnTo>
                  <a:lnTo>
                    <a:pt x="136" y="376"/>
                  </a:lnTo>
                  <a:lnTo>
                    <a:pt x="47" y="408"/>
                  </a:lnTo>
                  <a:lnTo>
                    <a:pt x="43" y="380"/>
                  </a:lnTo>
                  <a:lnTo>
                    <a:pt x="2" y="372"/>
                  </a:lnTo>
                  <a:lnTo>
                    <a:pt x="0" y="370"/>
                  </a:lnTo>
                  <a:lnTo>
                    <a:pt x="0" y="363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4130602B-CCF1-4BC8-8388-CAEF5F26E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950" y="3563852"/>
              <a:ext cx="370042" cy="583467"/>
            </a:xfrm>
            <a:custGeom>
              <a:avLst/>
              <a:gdLst>
                <a:gd name="T0" fmla="*/ 2 w 241"/>
                <a:gd name="T1" fmla="*/ 132 h 380"/>
                <a:gd name="T2" fmla="*/ 0 w 241"/>
                <a:gd name="T3" fmla="*/ 121 h 380"/>
                <a:gd name="T4" fmla="*/ 45 w 241"/>
                <a:gd name="T5" fmla="*/ 59 h 380"/>
                <a:gd name="T6" fmla="*/ 64 w 241"/>
                <a:gd name="T7" fmla="*/ 0 h 380"/>
                <a:gd name="T8" fmla="*/ 79 w 241"/>
                <a:gd name="T9" fmla="*/ 19 h 380"/>
                <a:gd name="T10" fmla="*/ 109 w 241"/>
                <a:gd name="T11" fmla="*/ 13 h 380"/>
                <a:gd name="T12" fmla="*/ 141 w 241"/>
                <a:gd name="T13" fmla="*/ 57 h 380"/>
                <a:gd name="T14" fmla="*/ 124 w 241"/>
                <a:gd name="T15" fmla="*/ 102 h 380"/>
                <a:gd name="T16" fmla="*/ 138 w 241"/>
                <a:gd name="T17" fmla="*/ 91 h 380"/>
                <a:gd name="T18" fmla="*/ 164 w 241"/>
                <a:gd name="T19" fmla="*/ 102 h 380"/>
                <a:gd name="T20" fmla="*/ 194 w 241"/>
                <a:gd name="T21" fmla="*/ 161 h 380"/>
                <a:gd name="T22" fmla="*/ 241 w 241"/>
                <a:gd name="T23" fmla="*/ 189 h 380"/>
                <a:gd name="T24" fmla="*/ 209 w 241"/>
                <a:gd name="T25" fmla="*/ 221 h 380"/>
                <a:gd name="T26" fmla="*/ 202 w 241"/>
                <a:gd name="T27" fmla="*/ 253 h 380"/>
                <a:gd name="T28" fmla="*/ 226 w 241"/>
                <a:gd name="T29" fmla="*/ 270 h 380"/>
                <a:gd name="T30" fmla="*/ 209 w 241"/>
                <a:gd name="T31" fmla="*/ 321 h 380"/>
                <a:gd name="T32" fmla="*/ 162 w 241"/>
                <a:gd name="T33" fmla="*/ 378 h 380"/>
                <a:gd name="T34" fmla="*/ 126 w 241"/>
                <a:gd name="T35" fmla="*/ 380 h 380"/>
                <a:gd name="T36" fmla="*/ 104 w 241"/>
                <a:gd name="T37" fmla="*/ 353 h 380"/>
                <a:gd name="T38" fmla="*/ 70 w 241"/>
                <a:gd name="T39" fmla="*/ 380 h 380"/>
                <a:gd name="T40" fmla="*/ 49 w 241"/>
                <a:gd name="T41" fmla="*/ 351 h 380"/>
                <a:gd name="T42" fmla="*/ 43 w 241"/>
                <a:gd name="T43" fmla="*/ 363 h 380"/>
                <a:gd name="T44" fmla="*/ 19 w 241"/>
                <a:gd name="T45" fmla="*/ 315 h 380"/>
                <a:gd name="T46" fmla="*/ 45 w 241"/>
                <a:gd name="T47" fmla="*/ 302 h 380"/>
                <a:gd name="T48" fmla="*/ 30 w 241"/>
                <a:gd name="T49" fmla="*/ 274 h 380"/>
                <a:gd name="T50" fmla="*/ 49 w 241"/>
                <a:gd name="T51" fmla="*/ 244 h 380"/>
                <a:gd name="T52" fmla="*/ 19 w 241"/>
                <a:gd name="T53" fmla="*/ 183 h 380"/>
                <a:gd name="T54" fmla="*/ 53 w 241"/>
                <a:gd name="T55" fmla="*/ 166 h 380"/>
                <a:gd name="T56" fmla="*/ 0 w 241"/>
                <a:gd name="T57" fmla="*/ 134 h 380"/>
                <a:gd name="T58" fmla="*/ 2 w 241"/>
                <a:gd name="T59" fmla="*/ 132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1" h="380">
                  <a:moveTo>
                    <a:pt x="2" y="132"/>
                  </a:moveTo>
                  <a:lnTo>
                    <a:pt x="0" y="121"/>
                  </a:lnTo>
                  <a:lnTo>
                    <a:pt x="45" y="59"/>
                  </a:lnTo>
                  <a:lnTo>
                    <a:pt x="64" y="0"/>
                  </a:lnTo>
                  <a:lnTo>
                    <a:pt x="79" y="19"/>
                  </a:lnTo>
                  <a:lnTo>
                    <a:pt x="109" y="13"/>
                  </a:lnTo>
                  <a:lnTo>
                    <a:pt x="141" y="57"/>
                  </a:lnTo>
                  <a:lnTo>
                    <a:pt x="124" y="102"/>
                  </a:lnTo>
                  <a:lnTo>
                    <a:pt x="138" y="91"/>
                  </a:lnTo>
                  <a:lnTo>
                    <a:pt x="164" y="102"/>
                  </a:lnTo>
                  <a:lnTo>
                    <a:pt x="194" y="161"/>
                  </a:lnTo>
                  <a:lnTo>
                    <a:pt x="241" y="189"/>
                  </a:lnTo>
                  <a:lnTo>
                    <a:pt x="209" y="221"/>
                  </a:lnTo>
                  <a:lnTo>
                    <a:pt x="202" y="253"/>
                  </a:lnTo>
                  <a:lnTo>
                    <a:pt x="226" y="270"/>
                  </a:lnTo>
                  <a:lnTo>
                    <a:pt x="209" y="321"/>
                  </a:lnTo>
                  <a:lnTo>
                    <a:pt x="162" y="378"/>
                  </a:lnTo>
                  <a:lnTo>
                    <a:pt x="126" y="380"/>
                  </a:lnTo>
                  <a:lnTo>
                    <a:pt x="104" y="353"/>
                  </a:lnTo>
                  <a:lnTo>
                    <a:pt x="70" y="380"/>
                  </a:lnTo>
                  <a:lnTo>
                    <a:pt x="49" y="351"/>
                  </a:lnTo>
                  <a:lnTo>
                    <a:pt x="43" y="363"/>
                  </a:lnTo>
                  <a:lnTo>
                    <a:pt x="19" y="315"/>
                  </a:lnTo>
                  <a:lnTo>
                    <a:pt x="45" y="302"/>
                  </a:lnTo>
                  <a:lnTo>
                    <a:pt x="30" y="274"/>
                  </a:lnTo>
                  <a:lnTo>
                    <a:pt x="49" y="244"/>
                  </a:lnTo>
                  <a:lnTo>
                    <a:pt x="19" y="183"/>
                  </a:lnTo>
                  <a:lnTo>
                    <a:pt x="53" y="166"/>
                  </a:lnTo>
                  <a:lnTo>
                    <a:pt x="0" y="134"/>
                  </a:lnTo>
                  <a:lnTo>
                    <a:pt x="2" y="13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47F37041-9F59-40AA-9D6E-9E5CDE0D8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8593" y="4151927"/>
              <a:ext cx="425317" cy="583467"/>
            </a:xfrm>
            <a:custGeom>
              <a:avLst/>
              <a:gdLst>
                <a:gd name="T0" fmla="*/ 2 w 277"/>
                <a:gd name="T1" fmla="*/ 123 h 380"/>
                <a:gd name="T2" fmla="*/ 34 w 277"/>
                <a:gd name="T3" fmla="*/ 104 h 380"/>
                <a:gd name="T4" fmla="*/ 21 w 277"/>
                <a:gd name="T5" fmla="*/ 19 h 380"/>
                <a:gd name="T6" fmla="*/ 53 w 277"/>
                <a:gd name="T7" fmla="*/ 0 h 380"/>
                <a:gd name="T8" fmla="*/ 53 w 277"/>
                <a:gd name="T9" fmla="*/ 23 h 380"/>
                <a:gd name="T10" fmla="*/ 75 w 277"/>
                <a:gd name="T11" fmla="*/ 38 h 380"/>
                <a:gd name="T12" fmla="*/ 106 w 277"/>
                <a:gd name="T13" fmla="*/ 27 h 380"/>
                <a:gd name="T14" fmla="*/ 151 w 277"/>
                <a:gd name="T15" fmla="*/ 42 h 380"/>
                <a:gd name="T16" fmla="*/ 177 w 277"/>
                <a:gd name="T17" fmla="*/ 19 h 380"/>
                <a:gd name="T18" fmla="*/ 191 w 277"/>
                <a:gd name="T19" fmla="*/ 36 h 380"/>
                <a:gd name="T20" fmla="*/ 160 w 277"/>
                <a:gd name="T21" fmla="*/ 51 h 380"/>
                <a:gd name="T22" fmla="*/ 143 w 277"/>
                <a:gd name="T23" fmla="*/ 82 h 380"/>
                <a:gd name="T24" fmla="*/ 160 w 277"/>
                <a:gd name="T25" fmla="*/ 95 h 380"/>
                <a:gd name="T26" fmla="*/ 143 w 277"/>
                <a:gd name="T27" fmla="*/ 102 h 380"/>
                <a:gd name="T28" fmla="*/ 145 w 277"/>
                <a:gd name="T29" fmla="*/ 104 h 380"/>
                <a:gd name="T30" fmla="*/ 183 w 277"/>
                <a:gd name="T31" fmla="*/ 153 h 380"/>
                <a:gd name="T32" fmla="*/ 174 w 277"/>
                <a:gd name="T33" fmla="*/ 219 h 380"/>
                <a:gd name="T34" fmla="*/ 202 w 277"/>
                <a:gd name="T35" fmla="*/ 250 h 380"/>
                <a:gd name="T36" fmla="*/ 257 w 277"/>
                <a:gd name="T37" fmla="*/ 259 h 380"/>
                <a:gd name="T38" fmla="*/ 247 w 277"/>
                <a:gd name="T39" fmla="*/ 282 h 380"/>
                <a:gd name="T40" fmla="*/ 277 w 277"/>
                <a:gd name="T41" fmla="*/ 295 h 380"/>
                <a:gd name="T42" fmla="*/ 274 w 277"/>
                <a:gd name="T43" fmla="*/ 310 h 380"/>
                <a:gd name="T44" fmla="*/ 274 w 277"/>
                <a:gd name="T45" fmla="*/ 314 h 380"/>
                <a:gd name="T46" fmla="*/ 277 w 277"/>
                <a:gd name="T47" fmla="*/ 331 h 380"/>
                <a:gd name="T48" fmla="*/ 240 w 277"/>
                <a:gd name="T49" fmla="*/ 350 h 380"/>
                <a:gd name="T50" fmla="*/ 234 w 277"/>
                <a:gd name="T51" fmla="*/ 376 h 380"/>
                <a:gd name="T52" fmla="*/ 209 w 277"/>
                <a:gd name="T53" fmla="*/ 380 h 380"/>
                <a:gd name="T54" fmla="*/ 172 w 277"/>
                <a:gd name="T55" fmla="*/ 363 h 380"/>
                <a:gd name="T56" fmla="*/ 168 w 277"/>
                <a:gd name="T57" fmla="*/ 331 h 380"/>
                <a:gd name="T58" fmla="*/ 126 w 277"/>
                <a:gd name="T59" fmla="*/ 323 h 380"/>
                <a:gd name="T60" fmla="*/ 100 w 277"/>
                <a:gd name="T61" fmla="*/ 342 h 380"/>
                <a:gd name="T62" fmla="*/ 55 w 277"/>
                <a:gd name="T63" fmla="*/ 338 h 380"/>
                <a:gd name="T64" fmla="*/ 77 w 277"/>
                <a:gd name="T65" fmla="*/ 287 h 380"/>
                <a:gd name="T66" fmla="*/ 2 w 277"/>
                <a:gd name="T67" fmla="*/ 176 h 380"/>
                <a:gd name="T68" fmla="*/ 17 w 277"/>
                <a:gd name="T69" fmla="*/ 142 h 380"/>
                <a:gd name="T70" fmla="*/ 0 w 277"/>
                <a:gd name="T71" fmla="*/ 125 h 380"/>
                <a:gd name="T72" fmla="*/ 2 w 277"/>
                <a:gd name="T73" fmla="*/ 123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77" h="380">
                  <a:moveTo>
                    <a:pt x="2" y="123"/>
                  </a:moveTo>
                  <a:lnTo>
                    <a:pt x="34" y="104"/>
                  </a:lnTo>
                  <a:lnTo>
                    <a:pt x="21" y="19"/>
                  </a:lnTo>
                  <a:lnTo>
                    <a:pt x="53" y="0"/>
                  </a:lnTo>
                  <a:lnTo>
                    <a:pt x="53" y="23"/>
                  </a:lnTo>
                  <a:lnTo>
                    <a:pt x="75" y="38"/>
                  </a:lnTo>
                  <a:lnTo>
                    <a:pt x="106" y="27"/>
                  </a:lnTo>
                  <a:lnTo>
                    <a:pt x="151" y="42"/>
                  </a:lnTo>
                  <a:lnTo>
                    <a:pt x="177" y="19"/>
                  </a:lnTo>
                  <a:lnTo>
                    <a:pt x="191" y="36"/>
                  </a:lnTo>
                  <a:lnTo>
                    <a:pt x="160" y="51"/>
                  </a:lnTo>
                  <a:lnTo>
                    <a:pt x="143" y="82"/>
                  </a:lnTo>
                  <a:lnTo>
                    <a:pt x="160" y="95"/>
                  </a:lnTo>
                  <a:lnTo>
                    <a:pt x="143" y="102"/>
                  </a:lnTo>
                  <a:lnTo>
                    <a:pt x="145" y="104"/>
                  </a:lnTo>
                  <a:lnTo>
                    <a:pt x="183" y="153"/>
                  </a:lnTo>
                  <a:lnTo>
                    <a:pt x="174" y="219"/>
                  </a:lnTo>
                  <a:lnTo>
                    <a:pt x="202" y="250"/>
                  </a:lnTo>
                  <a:lnTo>
                    <a:pt x="257" y="259"/>
                  </a:lnTo>
                  <a:lnTo>
                    <a:pt x="247" y="282"/>
                  </a:lnTo>
                  <a:lnTo>
                    <a:pt x="277" y="295"/>
                  </a:lnTo>
                  <a:lnTo>
                    <a:pt x="274" y="310"/>
                  </a:lnTo>
                  <a:lnTo>
                    <a:pt x="274" y="314"/>
                  </a:lnTo>
                  <a:lnTo>
                    <a:pt x="277" y="331"/>
                  </a:lnTo>
                  <a:lnTo>
                    <a:pt x="240" y="350"/>
                  </a:lnTo>
                  <a:lnTo>
                    <a:pt x="234" y="376"/>
                  </a:lnTo>
                  <a:lnTo>
                    <a:pt x="209" y="380"/>
                  </a:lnTo>
                  <a:lnTo>
                    <a:pt x="172" y="363"/>
                  </a:lnTo>
                  <a:lnTo>
                    <a:pt x="168" y="331"/>
                  </a:lnTo>
                  <a:lnTo>
                    <a:pt x="126" y="323"/>
                  </a:lnTo>
                  <a:lnTo>
                    <a:pt x="100" y="342"/>
                  </a:lnTo>
                  <a:lnTo>
                    <a:pt x="55" y="338"/>
                  </a:lnTo>
                  <a:lnTo>
                    <a:pt x="77" y="287"/>
                  </a:lnTo>
                  <a:lnTo>
                    <a:pt x="2" y="176"/>
                  </a:lnTo>
                  <a:lnTo>
                    <a:pt x="17" y="142"/>
                  </a:lnTo>
                  <a:lnTo>
                    <a:pt x="0" y="125"/>
                  </a:lnTo>
                  <a:lnTo>
                    <a:pt x="2" y="123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F0A43039-50EA-4511-B894-7AC4ADFD5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0196" y="3218379"/>
              <a:ext cx="623389" cy="540475"/>
            </a:xfrm>
            <a:custGeom>
              <a:avLst/>
              <a:gdLst>
                <a:gd name="T0" fmla="*/ 12 w 406"/>
                <a:gd name="T1" fmla="*/ 165 h 352"/>
                <a:gd name="T2" fmla="*/ 2 w 406"/>
                <a:gd name="T3" fmla="*/ 180 h 352"/>
                <a:gd name="T4" fmla="*/ 61 w 406"/>
                <a:gd name="T5" fmla="*/ 204 h 352"/>
                <a:gd name="T6" fmla="*/ 91 w 406"/>
                <a:gd name="T7" fmla="*/ 184 h 352"/>
                <a:gd name="T8" fmla="*/ 151 w 406"/>
                <a:gd name="T9" fmla="*/ 184 h 352"/>
                <a:gd name="T10" fmla="*/ 187 w 406"/>
                <a:gd name="T11" fmla="*/ 221 h 352"/>
                <a:gd name="T12" fmla="*/ 127 w 406"/>
                <a:gd name="T13" fmla="*/ 189 h 352"/>
                <a:gd name="T14" fmla="*/ 93 w 406"/>
                <a:gd name="T15" fmla="*/ 195 h 352"/>
                <a:gd name="T16" fmla="*/ 91 w 406"/>
                <a:gd name="T17" fmla="*/ 233 h 352"/>
                <a:gd name="T18" fmla="*/ 70 w 406"/>
                <a:gd name="T19" fmla="*/ 242 h 352"/>
                <a:gd name="T20" fmla="*/ 136 w 406"/>
                <a:gd name="T21" fmla="*/ 284 h 352"/>
                <a:gd name="T22" fmla="*/ 193 w 406"/>
                <a:gd name="T23" fmla="*/ 340 h 352"/>
                <a:gd name="T24" fmla="*/ 238 w 406"/>
                <a:gd name="T25" fmla="*/ 352 h 352"/>
                <a:gd name="T26" fmla="*/ 250 w 406"/>
                <a:gd name="T27" fmla="*/ 346 h 352"/>
                <a:gd name="T28" fmla="*/ 240 w 406"/>
                <a:gd name="T29" fmla="*/ 295 h 352"/>
                <a:gd name="T30" fmla="*/ 255 w 406"/>
                <a:gd name="T31" fmla="*/ 289 h 352"/>
                <a:gd name="T32" fmla="*/ 261 w 406"/>
                <a:gd name="T33" fmla="*/ 331 h 352"/>
                <a:gd name="T34" fmla="*/ 312 w 406"/>
                <a:gd name="T35" fmla="*/ 278 h 352"/>
                <a:gd name="T36" fmla="*/ 342 w 406"/>
                <a:gd name="T37" fmla="*/ 299 h 352"/>
                <a:gd name="T38" fmla="*/ 350 w 406"/>
                <a:gd name="T39" fmla="*/ 287 h 352"/>
                <a:gd name="T40" fmla="*/ 316 w 406"/>
                <a:gd name="T41" fmla="*/ 272 h 352"/>
                <a:gd name="T42" fmla="*/ 342 w 406"/>
                <a:gd name="T43" fmla="*/ 244 h 352"/>
                <a:gd name="T44" fmla="*/ 338 w 406"/>
                <a:gd name="T45" fmla="*/ 221 h 352"/>
                <a:gd name="T46" fmla="*/ 299 w 406"/>
                <a:gd name="T47" fmla="*/ 195 h 352"/>
                <a:gd name="T48" fmla="*/ 299 w 406"/>
                <a:gd name="T49" fmla="*/ 193 h 352"/>
                <a:gd name="T50" fmla="*/ 406 w 406"/>
                <a:gd name="T51" fmla="*/ 167 h 352"/>
                <a:gd name="T52" fmla="*/ 393 w 406"/>
                <a:gd name="T53" fmla="*/ 131 h 352"/>
                <a:gd name="T54" fmla="*/ 348 w 406"/>
                <a:gd name="T55" fmla="*/ 121 h 352"/>
                <a:gd name="T56" fmla="*/ 348 w 406"/>
                <a:gd name="T57" fmla="*/ 102 h 352"/>
                <a:gd name="T58" fmla="*/ 389 w 406"/>
                <a:gd name="T59" fmla="*/ 97 h 352"/>
                <a:gd name="T60" fmla="*/ 357 w 406"/>
                <a:gd name="T61" fmla="*/ 82 h 352"/>
                <a:gd name="T62" fmla="*/ 331 w 406"/>
                <a:gd name="T63" fmla="*/ 25 h 352"/>
                <a:gd name="T64" fmla="*/ 280 w 406"/>
                <a:gd name="T65" fmla="*/ 0 h 352"/>
                <a:gd name="T66" fmla="*/ 229 w 406"/>
                <a:gd name="T67" fmla="*/ 40 h 352"/>
                <a:gd name="T68" fmla="*/ 153 w 406"/>
                <a:gd name="T69" fmla="*/ 44 h 352"/>
                <a:gd name="T70" fmla="*/ 119 w 406"/>
                <a:gd name="T71" fmla="*/ 63 h 352"/>
                <a:gd name="T72" fmla="*/ 102 w 406"/>
                <a:gd name="T73" fmla="*/ 112 h 352"/>
                <a:gd name="T74" fmla="*/ 68 w 406"/>
                <a:gd name="T75" fmla="*/ 104 h 352"/>
                <a:gd name="T76" fmla="*/ 63 w 406"/>
                <a:gd name="T77" fmla="*/ 121 h 352"/>
                <a:gd name="T78" fmla="*/ 25 w 406"/>
                <a:gd name="T79" fmla="*/ 123 h 352"/>
                <a:gd name="T80" fmla="*/ 29 w 406"/>
                <a:gd name="T81" fmla="*/ 138 h 352"/>
                <a:gd name="T82" fmla="*/ 0 w 406"/>
                <a:gd name="T83" fmla="*/ 148 h 352"/>
                <a:gd name="T84" fmla="*/ 12 w 406"/>
                <a:gd name="T85" fmla="*/ 165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6" h="352">
                  <a:moveTo>
                    <a:pt x="12" y="165"/>
                  </a:moveTo>
                  <a:lnTo>
                    <a:pt x="2" y="180"/>
                  </a:lnTo>
                  <a:lnTo>
                    <a:pt x="61" y="204"/>
                  </a:lnTo>
                  <a:lnTo>
                    <a:pt x="91" y="184"/>
                  </a:lnTo>
                  <a:lnTo>
                    <a:pt x="151" y="184"/>
                  </a:lnTo>
                  <a:lnTo>
                    <a:pt x="187" y="221"/>
                  </a:lnTo>
                  <a:lnTo>
                    <a:pt x="127" y="189"/>
                  </a:lnTo>
                  <a:lnTo>
                    <a:pt x="93" y="195"/>
                  </a:lnTo>
                  <a:lnTo>
                    <a:pt x="91" y="233"/>
                  </a:lnTo>
                  <a:lnTo>
                    <a:pt x="70" y="242"/>
                  </a:lnTo>
                  <a:lnTo>
                    <a:pt x="136" y="284"/>
                  </a:lnTo>
                  <a:lnTo>
                    <a:pt x="193" y="340"/>
                  </a:lnTo>
                  <a:lnTo>
                    <a:pt x="238" y="352"/>
                  </a:lnTo>
                  <a:lnTo>
                    <a:pt x="250" y="346"/>
                  </a:lnTo>
                  <a:lnTo>
                    <a:pt x="240" y="295"/>
                  </a:lnTo>
                  <a:lnTo>
                    <a:pt x="255" y="289"/>
                  </a:lnTo>
                  <a:lnTo>
                    <a:pt x="261" y="331"/>
                  </a:lnTo>
                  <a:lnTo>
                    <a:pt x="312" y="278"/>
                  </a:lnTo>
                  <a:lnTo>
                    <a:pt x="342" y="299"/>
                  </a:lnTo>
                  <a:lnTo>
                    <a:pt x="350" y="287"/>
                  </a:lnTo>
                  <a:lnTo>
                    <a:pt x="316" y="272"/>
                  </a:lnTo>
                  <a:lnTo>
                    <a:pt x="342" y="244"/>
                  </a:lnTo>
                  <a:lnTo>
                    <a:pt x="338" y="221"/>
                  </a:lnTo>
                  <a:lnTo>
                    <a:pt x="299" y="195"/>
                  </a:lnTo>
                  <a:lnTo>
                    <a:pt x="299" y="193"/>
                  </a:lnTo>
                  <a:lnTo>
                    <a:pt x="406" y="167"/>
                  </a:lnTo>
                  <a:lnTo>
                    <a:pt x="393" y="131"/>
                  </a:lnTo>
                  <a:lnTo>
                    <a:pt x="348" y="121"/>
                  </a:lnTo>
                  <a:lnTo>
                    <a:pt x="348" y="102"/>
                  </a:lnTo>
                  <a:lnTo>
                    <a:pt x="389" y="97"/>
                  </a:lnTo>
                  <a:lnTo>
                    <a:pt x="357" y="82"/>
                  </a:lnTo>
                  <a:lnTo>
                    <a:pt x="331" y="25"/>
                  </a:lnTo>
                  <a:lnTo>
                    <a:pt x="280" y="0"/>
                  </a:lnTo>
                  <a:lnTo>
                    <a:pt x="229" y="40"/>
                  </a:lnTo>
                  <a:lnTo>
                    <a:pt x="153" y="44"/>
                  </a:lnTo>
                  <a:lnTo>
                    <a:pt x="119" y="63"/>
                  </a:lnTo>
                  <a:lnTo>
                    <a:pt x="102" y="112"/>
                  </a:lnTo>
                  <a:lnTo>
                    <a:pt x="68" y="104"/>
                  </a:lnTo>
                  <a:lnTo>
                    <a:pt x="63" y="121"/>
                  </a:lnTo>
                  <a:lnTo>
                    <a:pt x="25" y="123"/>
                  </a:lnTo>
                  <a:lnTo>
                    <a:pt x="29" y="138"/>
                  </a:lnTo>
                  <a:lnTo>
                    <a:pt x="0" y="148"/>
                  </a:lnTo>
                  <a:lnTo>
                    <a:pt x="12" y="16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BFF026CC-B761-480B-8FB3-CE3A02E6E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0362" y="4167281"/>
              <a:ext cx="626460" cy="538940"/>
            </a:xfrm>
            <a:custGeom>
              <a:avLst/>
              <a:gdLst>
                <a:gd name="T0" fmla="*/ 4 w 408"/>
                <a:gd name="T1" fmla="*/ 147 h 351"/>
                <a:gd name="T2" fmla="*/ 57 w 408"/>
                <a:gd name="T3" fmla="*/ 98 h 351"/>
                <a:gd name="T4" fmla="*/ 46 w 408"/>
                <a:gd name="T5" fmla="*/ 38 h 351"/>
                <a:gd name="T6" fmla="*/ 61 w 408"/>
                <a:gd name="T7" fmla="*/ 45 h 351"/>
                <a:gd name="T8" fmla="*/ 89 w 408"/>
                <a:gd name="T9" fmla="*/ 9 h 351"/>
                <a:gd name="T10" fmla="*/ 106 w 408"/>
                <a:gd name="T11" fmla="*/ 17 h 351"/>
                <a:gd name="T12" fmla="*/ 110 w 408"/>
                <a:gd name="T13" fmla="*/ 2 h 351"/>
                <a:gd name="T14" fmla="*/ 138 w 408"/>
                <a:gd name="T15" fmla="*/ 0 h 351"/>
                <a:gd name="T16" fmla="*/ 148 w 408"/>
                <a:gd name="T17" fmla="*/ 45 h 351"/>
                <a:gd name="T18" fmla="*/ 202 w 408"/>
                <a:gd name="T19" fmla="*/ 66 h 351"/>
                <a:gd name="T20" fmla="*/ 270 w 408"/>
                <a:gd name="T21" fmla="*/ 66 h 351"/>
                <a:gd name="T22" fmla="*/ 274 w 408"/>
                <a:gd name="T23" fmla="*/ 87 h 351"/>
                <a:gd name="T24" fmla="*/ 306 w 408"/>
                <a:gd name="T25" fmla="*/ 81 h 351"/>
                <a:gd name="T26" fmla="*/ 331 w 408"/>
                <a:gd name="T27" fmla="*/ 115 h 351"/>
                <a:gd name="T28" fmla="*/ 348 w 408"/>
                <a:gd name="T29" fmla="*/ 132 h 351"/>
                <a:gd name="T30" fmla="*/ 333 w 408"/>
                <a:gd name="T31" fmla="*/ 166 h 351"/>
                <a:gd name="T32" fmla="*/ 408 w 408"/>
                <a:gd name="T33" fmla="*/ 277 h 351"/>
                <a:gd name="T34" fmla="*/ 386 w 408"/>
                <a:gd name="T35" fmla="*/ 328 h 351"/>
                <a:gd name="T36" fmla="*/ 331 w 408"/>
                <a:gd name="T37" fmla="*/ 317 h 351"/>
                <a:gd name="T38" fmla="*/ 316 w 408"/>
                <a:gd name="T39" fmla="*/ 332 h 351"/>
                <a:gd name="T40" fmla="*/ 282 w 408"/>
                <a:gd name="T41" fmla="*/ 302 h 351"/>
                <a:gd name="T42" fmla="*/ 246 w 408"/>
                <a:gd name="T43" fmla="*/ 302 h 351"/>
                <a:gd name="T44" fmla="*/ 182 w 408"/>
                <a:gd name="T45" fmla="*/ 328 h 351"/>
                <a:gd name="T46" fmla="*/ 157 w 408"/>
                <a:gd name="T47" fmla="*/ 351 h 351"/>
                <a:gd name="T48" fmla="*/ 125 w 408"/>
                <a:gd name="T49" fmla="*/ 315 h 351"/>
                <a:gd name="T50" fmla="*/ 80 w 408"/>
                <a:gd name="T51" fmla="*/ 315 h 351"/>
                <a:gd name="T52" fmla="*/ 74 w 408"/>
                <a:gd name="T53" fmla="*/ 296 h 351"/>
                <a:gd name="T54" fmla="*/ 29 w 408"/>
                <a:gd name="T55" fmla="*/ 279 h 351"/>
                <a:gd name="T56" fmla="*/ 25 w 408"/>
                <a:gd name="T57" fmla="*/ 185 h 351"/>
                <a:gd name="T58" fmla="*/ 0 w 408"/>
                <a:gd name="T59" fmla="*/ 151 h 351"/>
                <a:gd name="T60" fmla="*/ 4 w 408"/>
                <a:gd name="T61" fmla="*/ 14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08" h="351">
                  <a:moveTo>
                    <a:pt x="4" y="147"/>
                  </a:moveTo>
                  <a:lnTo>
                    <a:pt x="57" y="98"/>
                  </a:lnTo>
                  <a:lnTo>
                    <a:pt x="46" y="38"/>
                  </a:lnTo>
                  <a:lnTo>
                    <a:pt x="61" y="45"/>
                  </a:lnTo>
                  <a:lnTo>
                    <a:pt x="89" y="9"/>
                  </a:lnTo>
                  <a:lnTo>
                    <a:pt x="106" y="17"/>
                  </a:lnTo>
                  <a:lnTo>
                    <a:pt x="110" y="2"/>
                  </a:lnTo>
                  <a:lnTo>
                    <a:pt x="138" y="0"/>
                  </a:lnTo>
                  <a:lnTo>
                    <a:pt x="148" y="45"/>
                  </a:lnTo>
                  <a:lnTo>
                    <a:pt x="202" y="66"/>
                  </a:lnTo>
                  <a:lnTo>
                    <a:pt x="270" y="66"/>
                  </a:lnTo>
                  <a:lnTo>
                    <a:pt x="274" y="87"/>
                  </a:lnTo>
                  <a:lnTo>
                    <a:pt x="306" y="81"/>
                  </a:lnTo>
                  <a:lnTo>
                    <a:pt x="331" y="115"/>
                  </a:lnTo>
                  <a:lnTo>
                    <a:pt x="348" y="132"/>
                  </a:lnTo>
                  <a:lnTo>
                    <a:pt x="333" y="166"/>
                  </a:lnTo>
                  <a:lnTo>
                    <a:pt x="408" y="277"/>
                  </a:lnTo>
                  <a:lnTo>
                    <a:pt x="386" y="328"/>
                  </a:lnTo>
                  <a:lnTo>
                    <a:pt x="331" y="317"/>
                  </a:lnTo>
                  <a:lnTo>
                    <a:pt x="316" y="332"/>
                  </a:lnTo>
                  <a:lnTo>
                    <a:pt x="282" y="302"/>
                  </a:lnTo>
                  <a:lnTo>
                    <a:pt x="246" y="302"/>
                  </a:lnTo>
                  <a:lnTo>
                    <a:pt x="182" y="328"/>
                  </a:lnTo>
                  <a:lnTo>
                    <a:pt x="157" y="351"/>
                  </a:lnTo>
                  <a:lnTo>
                    <a:pt x="125" y="315"/>
                  </a:lnTo>
                  <a:lnTo>
                    <a:pt x="80" y="315"/>
                  </a:lnTo>
                  <a:lnTo>
                    <a:pt x="74" y="296"/>
                  </a:lnTo>
                  <a:lnTo>
                    <a:pt x="29" y="279"/>
                  </a:lnTo>
                  <a:lnTo>
                    <a:pt x="25" y="185"/>
                  </a:lnTo>
                  <a:lnTo>
                    <a:pt x="0" y="151"/>
                  </a:lnTo>
                  <a:lnTo>
                    <a:pt x="4" y="1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0CA84A90-FC7B-40DC-AD10-EE51E436F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023" y="2975779"/>
              <a:ext cx="287128" cy="489806"/>
            </a:xfrm>
            <a:custGeom>
              <a:avLst/>
              <a:gdLst>
                <a:gd name="T0" fmla="*/ 2 w 187"/>
                <a:gd name="T1" fmla="*/ 187 h 319"/>
                <a:gd name="T2" fmla="*/ 49 w 187"/>
                <a:gd name="T3" fmla="*/ 219 h 319"/>
                <a:gd name="T4" fmla="*/ 42 w 187"/>
                <a:gd name="T5" fmla="*/ 264 h 319"/>
                <a:gd name="T6" fmla="*/ 62 w 187"/>
                <a:gd name="T7" fmla="*/ 262 h 319"/>
                <a:gd name="T8" fmla="*/ 76 w 187"/>
                <a:gd name="T9" fmla="*/ 298 h 319"/>
                <a:gd name="T10" fmla="*/ 93 w 187"/>
                <a:gd name="T11" fmla="*/ 298 h 319"/>
                <a:gd name="T12" fmla="*/ 87 w 187"/>
                <a:gd name="T13" fmla="*/ 319 h 319"/>
                <a:gd name="T14" fmla="*/ 140 w 187"/>
                <a:gd name="T15" fmla="*/ 319 h 319"/>
                <a:gd name="T16" fmla="*/ 187 w 187"/>
                <a:gd name="T17" fmla="*/ 262 h 319"/>
                <a:gd name="T18" fmla="*/ 166 w 187"/>
                <a:gd name="T19" fmla="*/ 219 h 319"/>
                <a:gd name="T20" fmla="*/ 187 w 187"/>
                <a:gd name="T21" fmla="*/ 119 h 319"/>
                <a:gd name="T22" fmla="*/ 172 w 187"/>
                <a:gd name="T23" fmla="*/ 66 h 319"/>
                <a:gd name="T24" fmla="*/ 79 w 187"/>
                <a:gd name="T25" fmla="*/ 0 h 319"/>
                <a:gd name="T26" fmla="*/ 21 w 187"/>
                <a:gd name="T27" fmla="*/ 121 h 319"/>
                <a:gd name="T28" fmla="*/ 17 w 187"/>
                <a:gd name="T29" fmla="*/ 172 h 319"/>
                <a:gd name="T30" fmla="*/ 0 w 187"/>
                <a:gd name="T31" fmla="*/ 183 h 319"/>
                <a:gd name="T32" fmla="*/ 2 w 187"/>
                <a:gd name="T33" fmla="*/ 187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7" h="319">
                  <a:moveTo>
                    <a:pt x="2" y="187"/>
                  </a:moveTo>
                  <a:lnTo>
                    <a:pt x="49" y="219"/>
                  </a:lnTo>
                  <a:lnTo>
                    <a:pt x="42" y="264"/>
                  </a:lnTo>
                  <a:lnTo>
                    <a:pt x="62" y="262"/>
                  </a:lnTo>
                  <a:lnTo>
                    <a:pt x="76" y="298"/>
                  </a:lnTo>
                  <a:lnTo>
                    <a:pt x="93" y="298"/>
                  </a:lnTo>
                  <a:lnTo>
                    <a:pt x="87" y="319"/>
                  </a:lnTo>
                  <a:lnTo>
                    <a:pt x="140" y="319"/>
                  </a:lnTo>
                  <a:lnTo>
                    <a:pt x="187" y="262"/>
                  </a:lnTo>
                  <a:lnTo>
                    <a:pt x="166" y="219"/>
                  </a:lnTo>
                  <a:lnTo>
                    <a:pt x="187" y="119"/>
                  </a:lnTo>
                  <a:lnTo>
                    <a:pt x="172" y="66"/>
                  </a:lnTo>
                  <a:lnTo>
                    <a:pt x="79" y="0"/>
                  </a:lnTo>
                  <a:lnTo>
                    <a:pt x="21" y="121"/>
                  </a:lnTo>
                  <a:lnTo>
                    <a:pt x="17" y="172"/>
                  </a:lnTo>
                  <a:lnTo>
                    <a:pt x="0" y="183"/>
                  </a:lnTo>
                  <a:lnTo>
                    <a:pt x="2" y="18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D305E5CC-68B7-43D5-A4F0-0BFBFFBF2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161" y="4131965"/>
              <a:ext cx="362364" cy="472916"/>
            </a:xfrm>
            <a:custGeom>
              <a:avLst/>
              <a:gdLst>
                <a:gd name="T0" fmla="*/ 2 w 236"/>
                <a:gd name="T1" fmla="*/ 117 h 308"/>
                <a:gd name="T2" fmla="*/ 40 w 236"/>
                <a:gd name="T3" fmla="*/ 166 h 308"/>
                <a:gd name="T4" fmla="*/ 31 w 236"/>
                <a:gd name="T5" fmla="*/ 232 h 308"/>
                <a:gd name="T6" fmla="*/ 59 w 236"/>
                <a:gd name="T7" fmla="*/ 263 h 308"/>
                <a:gd name="T8" fmla="*/ 114 w 236"/>
                <a:gd name="T9" fmla="*/ 272 h 308"/>
                <a:gd name="T10" fmla="*/ 104 w 236"/>
                <a:gd name="T11" fmla="*/ 295 h 308"/>
                <a:gd name="T12" fmla="*/ 134 w 236"/>
                <a:gd name="T13" fmla="*/ 308 h 308"/>
                <a:gd name="T14" fmla="*/ 163 w 236"/>
                <a:gd name="T15" fmla="*/ 283 h 308"/>
                <a:gd name="T16" fmla="*/ 140 w 236"/>
                <a:gd name="T17" fmla="*/ 263 h 308"/>
                <a:gd name="T18" fmla="*/ 204 w 236"/>
                <a:gd name="T19" fmla="*/ 251 h 308"/>
                <a:gd name="T20" fmla="*/ 236 w 236"/>
                <a:gd name="T21" fmla="*/ 215 h 308"/>
                <a:gd name="T22" fmla="*/ 208 w 236"/>
                <a:gd name="T23" fmla="*/ 191 h 308"/>
                <a:gd name="T24" fmla="*/ 219 w 236"/>
                <a:gd name="T25" fmla="*/ 178 h 308"/>
                <a:gd name="T26" fmla="*/ 172 w 236"/>
                <a:gd name="T27" fmla="*/ 181 h 308"/>
                <a:gd name="T28" fmla="*/ 161 w 236"/>
                <a:gd name="T29" fmla="*/ 146 h 308"/>
                <a:gd name="T30" fmla="*/ 125 w 236"/>
                <a:gd name="T31" fmla="*/ 134 h 308"/>
                <a:gd name="T32" fmla="*/ 134 w 236"/>
                <a:gd name="T33" fmla="*/ 47 h 308"/>
                <a:gd name="T34" fmla="*/ 121 w 236"/>
                <a:gd name="T35" fmla="*/ 44 h 308"/>
                <a:gd name="T36" fmla="*/ 110 w 236"/>
                <a:gd name="T37" fmla="*/ 0 h 308"/>
                <a:gd name="T38" fmla="*/ 93 w 236"/>
                <a:gd name="T39" fmla="*/ 15 h 308"/>
                <a:gd name="T40" fmla="*/ 44 w 236"/>
                <a:gd name="T41" fmla="*/ 2 h 308"/>
                <a:gd name="T42" fmla="*/ 34 w 236"/>
                <a:gd name="T43" fmla="*/ 32 h 308"/>
                <a:gd name="T44" fmla="*/ 48 w 236"/>
                <a:gd name="T45" fmla="*/ 49 h 308"/>
                <a:gd name="T46" fmla="*/ 17 w 236"/>
                <a:gd name="T47" fmla="*/ 64 h 308"/>
                <a:gd name="T48" fmla="*/ 0 w 236"/>
                <a:gd name="T49" fmla="*/ 95 h 308"/>
                <a:gd name="T50" fmla="*/ 17 w 236"/>
                <a:gd name="T51" fmla="*/ 108 h 308"/>
                <a:gd name="T52" fmla="*/ 0 w 236"/>
                <a:gd name="T53" fmla="*/ 115 h 308"/>
                <a:gd name="T54" fmla="*/ 2 w 236"/>
                <a:gd name="T55" fmla="*/ 11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36" h="308">
                  <a:moveTo>
                    <a:pt x="2" y="117"/>
                  </a:moveTo>
                  <a:lnTo>
                    <a:pt x="40" y="166"/>
                  </a:lnTo>
                  <a:lnTo>
                    <a:pt x="31" y="232"/>
                  </a:lnTo>
                  <a:lnTo>
                    <a:pt x="59" y="263"/>
                  </a:lnTo>
                  <a:lnTo>
                    <a:pt x="114" y="272"/>
                  </a:lnTo>
                  <a:lnTo>
                    <a:pt x="104" y="295"/>
                  </a:lnTo>
                  <a:lnTo>
                    <a:pt x="134" y="308"/>
                  </a:lnTo>
                  <a:lnTo>
                    <a:pt x="163" y="283"/>
                  </a:lnTo>
                  <a:lnTo>
                    <a:pt x="140" y="263"/>
                  </a:lnTo>
                  <a:lnTo>
                    <a:pt x="204" y="251"/>
                  </a:lnTo>
                  <a:lnTo>
                    <a:pt x="236" y="215"/>
                  </a:lnTo>
                  <a:lnTo>
                    <a:pt x="208" y="191"/>
                  </a:lnTo>
                  <a:lnTo>
                    <a:pt x="219" y="178"/>
                  </a:lnTo>
                  <a:lnTo>
                    <a:pt x="172" y="181"/>
                  </a:lnTo>
                  <a:lnTo>
                    <a:pt x="161" y="146"/>
                  </a:lnTo>
                  <a:lnTo>
                    <a:pt x="125" y="134"/>
                  </a:lnTo>
                  <a:lnTo>
                    <a:pt x="134" y="47"/>
                  </a:lnTo>
                  <a:lnTo>
                    <a:pt x="121" y="44"/>
                  </a:lnTo>
                  <a:lnTo>
                    <a:pt x="110" y="0"/>
                  </a:lnTo>
                  <a:lnTo>
                    <a:pt x="93" y="15"/>
                  </a:lnTo>
                  <a:lnTo>
                    <a:pt x="44" y="2"/>
                  </a:lnTo>
                  <a:lnTo>
                    <a:pt x="34" y="32"/>
                  </a:lnTo>
                  <a:lnTo>
                    <a:pt x="48" y="49"/>
                  </a:lnTo>
                  <a:lnTo>
                    <a:pt x="17" y="64"/>
                  </a:lnTo>
                  <a:lnTo>
                    <a:pt x="0" y="95"/>
                  </a:lnTo>
                  <a:lnTo>
                    <a:pt x="17" y="108"/>
                  </a:lnTo>
                  <a:lnTo>
                    <a:pt x="0" y="115"/>
                  </a:lnTo>
                  <a:lnTo>
                    <a:pt x="2" y="1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A4838C8C-EEBE-4D14-B586-4CFB13CD6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5514" y="2888258"/>
              <a:ext cx="518979" cy="512837"/>
            </a:xfrm>
            <a:custGeom>
              <a:avLst/>
              <a:gdLst>
                <a:gd name="T0" fmla="*/ 2 w 338"/>
                <a:gd name="T1" fmla="*/ 234 h 334"/>
                <a:gd name="T2" fmla="*/ 13 w 338"/>
                <a:gd name="T3" fmla="*/ 255 h 334"/>
                <a:gd name="T4" fmla="*/ 17 w 338"/>
                <a:gd name="T5" fmla="*/ 272 h 334"/>
                <a:gd name="T6" fmla="*/ 64 w 338"/>
                <a:gd name="T7" fmla="*/ 276 h 334"/>
                <a:gd name="T8" fmla="*/ 60 w 338"/>
                <a:gd name="T9" fmla="*/ 300 h 334"/>
                <a:gd name="T10" fmla="*/ 83 w 338"/>
                <a:gd name="T11" fmla="*/ 293 h 334"/>
                <a:gd name="T12" fmla="*/ 142 w 338"/>
                <a:gd name="T13" fmla="*/ 327 h 334"/>
                <a:gd name="T14" fmla="*/ 162 w 338"/>
                <a:gd name="T15" fmla="*/ 319 h 334"/>
                <a:gd name="T16" fmla="*/ 198 w 338"/>
                <a:gd name="T17" fmla="*/ 334 h 334"/>
                <a:gd name="T18" fmla="*/ 202 w 338"/>
                <a:gd name="T19" fmla="*/ 308 h 334"/>
                <a:gd name="T20" fmla="*/ 217 w 338"/>
                <a:gd name="T21" fmla="*/ 317 h 334"/>
                <a:gd name="T22" fmla="*/ 259 w 338"/>
                <a:gd name="T23" fmla="*/ 291 h 334"/>
                <a:gd name="T24" fmla="*/ 255 w 338"/>
                <a:gd name="T25" fmla="*/ 293 h 334"/>
                <a:gd name="T26" fmla="*/ 251 w 338"/>
                <a:gd name="T27" fmla="*/ 285 h 334"/>
                <a:gd name="T28" fmla="*/ 298 w 338"/>
                <a:gd name="T29" fmla="*/ 242 h 334"/>
                <a:gd name="T30" fmla="*/ 295 w 338"/>
                <a:gd name="T31" fmla="*/ 219 h 334"/>
                <a:gd name="T32" fmla="*/ 312 w 338"/>
                <a:gd name="T33" fmla="*/ 219 h 334"/>
                <a:gd name="T34" fmla="*/ 306 w 338"/>
                <a:gd name="T35" fmla="*/ 157 h 334"/>
                <a:gd name="T36" fmla="*/ 321 w 338"/>
                <a:gd name="T37" fmla="*/ 142 h 334"/>
                <a:gd name="T38" fmla="*/ 338 w 338"/>
                <a:gd name="T39" fmla="*/ 127 h 334"/>
                <a:gd name="T40" fmla="*/ 308 w 338"/>
                <a:gd name="T41" fmla="*/ 110 h 334"/>
                <a:gd name="T42" fmla="*/ 215 w 338"/>
                <a:gd name="T43" fmla="*/ 61 h 334"/>
                <a:gd name="T44" fmla="*/ 213 w 338"/>
                <a:gd name="T45" fmla="*/ 21 h 334"/>
                <a:gd name="T46" fmla="*/ 189 w 338"/>
                <a:gd name="T47" fmla="*/ 0 h 334"/>
                <a:gd name="T48" fmla="*/ 106 w 338"/>
                <a:gd name="T49" fmla="*/ 36 h 334"/>
                <a:gd name="T50" fmla="*/ 79 w 338"/>
                <a:gd name="T51" fmla="*/ 51 h 334"/>
                <a:gd name="T52" fmla="*/ 79 w 338"/>
                <a:gd name="T53" fmla="*/ 98 h 334"/>
                <a:gd name="T54" fmla="*/ 53 w 338"/>
                <a:gd name="T55" fmla="*/ 112 h 334"/>
                <a:gd name="T56" fmla="*/ 55 w 338"/>
                <a:gd name="T57" fmla="*/ 149 h 334"/>
                <a:gd name="T58" fmla="*/ 30 w 338"/>
                <a:gd name="T59" fmla="*/ 153 h 334"/>
                <a:gd name="T60" fmla="*/ 40 w 338"/>
                <a:gd name="T61" fmla="*/ 187 h 334"/>
                <a:gd name="T62" fmla="*/ 11 w 338"/>
                <a:gd name="T63" fmla="*/ 200 h 334"/>
                <a:gd name="T64" fmla="*/ 19 w 338"/>
                <a:gd name="T65" fmla="*/ 215 h 334"/>
                <a:gd name="T66" fmla="*/ 0 w 338"/>
                <a:gd name="T67" fmla="*/ 229 h 334"/>
                <a:gd name="T68" fmla="*/ 2 w 338"/>
                <a:gd name="T69" fmla="*/ 2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8" h="334">
                  <a:moveTo>
                    <a:pt x="2" y="234"/>
                  </a:moveTo>
                  <a:lnTo>
                    <a:pt x="13" y="255"/>
                  </a:lnTo>
                  <a:lnTo>
                    <a:pt x="17" y="272"/>
                  </a:lnTo>
                  <a:lnTo>
                    <a:pt x="64" y="276"/>
                  </a:lnTo>
                  <a:lnTo>
                    <a:pt x="60" y="300"/>
                  </a:lnTo>
                  <a:lnTo>
                    <a:pt x="83" y="293"/>
                  </a:lnTo>
                  <a:lnTo>
                    <a:pt x="142" y="327"/>
                  </a:lnTo>
                  <a:lnTo>
                    <a:pt x="162" y="319"/>
                  </a:lnTo>
                  <a:lnTo>
                    <a:pt x="198" y="334"/>
                  </a:lnTo>
                  <a:lnTo>
                    <a:pt x="202" y="308"/>
                  </a:lnTo>
                  <a:lnTo>
                    <a:pt x="217" y="317"/>
                  </a:lnTo>
                  <a:lnTo>
                    <a:pt x="259" y="291"/>
                  </a:lnTo>
                  <a:lnTo>
                    <a:pt x="255" y="293"/>
                  </a:lnTo>
                  <a:lnTo>
                    <a:pt x="251" y="285"/>
                  </a:lnTo>
                  <a:lnTo>
                    <a:pt x="298" y="242"/>
                  </a:lnTo>
                  <a:lnTo>
                    <a:pt x="295" y="219"/>
                  </a:lnTo>
                  <a:lnTo>
                    <a:pt x="312" y="219"/>
                  </a:lnTo>
                  <a:lnTo>
                    <a:pt x="306" y="157"/>
                  </a:lnTo>
                  <a:lnTo>
                    <a:pt x="321" y="142"/>
                  </a:lnTo>
                  <a:lnTo>
                    <a:pt x="338" y="127"/>
                  </a:lnTo>
                  <a:lnTo>
                    <a:pt x="308" y="110"/>
                  </a:lnTo>
                  <a:lnTo>
                    <a:pt x="215" y="61"/>
                  </a:lnTo>
                  <a:lnTo>
                    <a:pt x="213" y="21"/>
                  </a:lnTo>
                  <a:lnTo>
                    <a:pt x="189" y="0"/>
                  </a:lnTo>
                  <a:lnTo>
                    <a:pt x="106" y="36"/>
                  </a:lnTo>
                  <a:lnTo>
                    <a:pt x="79" y="51"/>
                  </a:lnTo>
                  <a:lnTo>
                    <a:pt x="79" y="98"/>
                  </a:lnTo>
                  <a:lnTo>
                    <a:pt x="53" y="112"/>
                  </a:lnTo>
                  <a:lnTo>
                    <a:pt x="55" y="149"/>
                  </a:lnTo>
                  <a:lnTo>
                    <a:pt x="30" y="153"/>
                  </a:lnTo>
                  <a:lnTo>
                    <a:pt x="40" y="187"/>
                  </a:lnTo>
                  <a:lnTo>
                    <a:pt x="11" y="200"/>
                  </a:lnTo>
                  <a:lnTo>
                    <a:pt x="19" y="215"/>
                  </a:lnTo>
                  <a:lnTo>
                    <a:pt x="0" y="229"/>
                  </a:lnTo>
                  <a:lnTo>
                    <a:pt x="2" y="2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28C83CFE-CA32-4ED9-920C-3BA410F17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3242" y="4326967"/>
              <a:ext cx="618783" cy="486735"/>
            </a:xfrm>
            <a:custGeom>
              <a:avLst/>
              <a:gdLst>
                <a:gd name="T0" fmla="*/ 0 w 403"/>
                <a:gd name="T1" fmla="*/ 119 h 317"/>
                <a:gd name="T2" fmla="*/ 36 w 403"/>
                <a:gd name="T3" fmla="*/ 81 h 317"/>
                <a:gd name="T4" fmla="*/ 48 w 403"/>
                <a:gd name="T5" fmla="*/ 0 h 317"/>
                <a:gd name="T6" fmla="*/ 93 w 403"/>
                <a:gd name="T7" fmla="*/ 68 h 317"/>
                <a:gd name="T8" fmla="*/ 136 w 403"/>
                <a:gd name="T9" fmla="*/ 64 h 317"/>
                <a:gd name="T10" fmla="*/ 161 w 403"/>
                <a:gd name="T11" fmla="*/ 90 h 317"/>
                <a:gd name="T12" fmla="*/ 178 w 403"/>
                <a:gd name="T13" fmla="*/ 85 h 317"/>
                <a:gd name="T14" fmla="*/ 223 w 403"/>
                <a:gd name="T15" fmla="*/ 7 h 317"/>
                <a:gd name="T16" fmla="*/ 272 w 403"/>
                <a:gd name="T17" fmla="*/ 68 h 317"/>
                <a:gd name="T18" fmla="*/ 297 w 403"/>
                <a:gd name="T19" fmla="*/ 49 h 317"/>
                <a:gd name="T20" fmla="*/ 312 w 403"/>
                <a:gd name="T21" fmla="*/ 81 h 317"/>
                <a:gd name="T22" fmla="*/ 352 w 403"/>
                <a:gd name="T23" fmla="*/ 98 h 317"/>
                <a:gd name="T24" fmla="*/ 355 w 403"/>
                <a:gd name="T25" fmla="*/ 147 h 317"/>
                <a:gd name="T26" fmla="*/ 403 w 403"/>
                <a:gd name="T27" fmla="*/ 181 h 317"/>
                <a:gd name="T28" fmla="*/ 378 w 403"/>
                <a:gd name="T29" fmla="*/ 251 h 317"/>
                <a:gd name="T30" fmla="*/ 348 w 403"/>
                <a:gd name="T31" fmla="*/ 255 h 317"/>
                <a:gd name="T32" fmla="*/ 325 w 403"/>
                <a:gd name="T33" fmla="*/ 285 h 317"/>
                <a:gd name="T34" fmla="*/ 301 w 403"/>
                <a:gd name="T35" fmla="*/ 275 h 317"/>
                <a:gd name="T36" fmla="*/ 265 w 403"/>
                <a:gd name="T37" fmla="*/ 294 h 317"/>
                <a:gd name="T38" fmla="*/ 233 w 403"/>
                <a:gd name="T39" fmla="*/ 298 h 317"/>
                <a:gd name="T40" fmla="*/ 221 w 403"/>
                <a:gd name="T41" fmla="*/ 317 h 317"/>
                <a:gd name="T42" fmla="*/ 170 w 403"/>
                <a:gd name="T43" fmla="*/ 292 h 317"/>
                <a:gd name="T44" fmla="*/ 140 w 403"/>
                <a:gd name="T45" fmla="*/ 283 h 317"/>
                <a:gd name="T46" fmla="*/ 134 w 403"/>
                <a:gd name="T47" fmla="*/ 236 h 317"/>
                <a:gd name="T48" fmla="*/ 148 w 403"/>
                <a:gd name="T49" fmla="*/ 211 h 317"/>
                <a:gd name="T50" fmla="*/ 129 w 403"/>
                <a:gd name="T51" fmla="*/ 181 h 317"/>
                <a:gd name="T52" fmla="*/ 89 w 403"/>
                <a:gd name="T53" fmla="*/ 164 h 317"/>
                <a:gd name="T54" fmla="*/ 72 w 403"/>
                <a:gd name="T55" fmla="*/ 200 h 317"/>
                <a:gd name="T56" fmla="*/ 31 w 403"/>
                <a:gd name="T57" fmla="*/ 185 h 317"/>
                <a:gd name="T58" fmla="*/ 0 w 403"/>
                <a:gd name="T59" fmla="*/ 124 h 317"/>
                <a:gd name="T60" fmla="*/ 0 w 403"/>
                <a:gd name="T61" fmla="*/ 11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03" h="317">
                  <a:moveTo>
                    <a:pt x="0" y="119"/>
                  </a:moveTo>
                  <a:lnTo>
                    <a:pt x="36" y="81"/>
                  </a:lnTo>
                  <a:lnTo>
                    <a:pt x="48" y="0"/>
                  </a:lnTo>
                  <a:lnTo>
                    <a:pt x="93" y="68"/>
                  </a:lnTo>
                  <a:lnTo>
                    <a:pt x="136" y="64"/>
                  </a:lnTo>
                  <a:lnTo>
                    <a:pt x="161" y="90"/>
                  </a:lnTo>
                  <a:lnTo>
                    <a:pt x="178" y="85"/>
                  </a:lnTo>
                  <a:lnTo>
                    <a:pt x="223" y="7"/>
                  </a:lnTo>
                  <a:lnTo>
                    <a:pt x="272" y="68"/>
                  </a:lnTo>
                  <a:lnTo>
                    <a:pt x="297" y="49"/>
                  </a:lnTo>
                  <a:lnTo>
                    <a:pt x="312" y="81"/>
                  </a:lnTo>
                  <a:lnTo>
                    <a:pt x="352" y="98"/>
                  </a:lnTo>
                  <a:lnTo>
                    <a:pt x="355" y="147"/>
                  </a:lnTo>
                  <a:lnTo>
                    <a:pt x="403" y="181"/>
                  </a:lnTo>
                  <a:lnTo>
                    <a:pt x="378" y="251"/>
                  </a:lnTo>
                  <a:lnTo>
                    <a:pt x="348" y="255"/>
                  </a:lnTo>
                  <a:lnTo>
                    <a:pt x="325" y="285"/>
                  </a:lnTo>
                  <a:lnTo>
                    <a:pt x="301" y="275"/>
                  </a:lnTo>
                  <a:lnTo>
                    <a:pt x="265" y="294"/>
                  </a:lnTo>
                  <a:lnTo>
                    <a:pt x="233" y="298"/>
                  </a:lnTo>
                  <a:lnTo>
                    <a:pt x="221" y="317"/>
                  </a:lnTo>
                  <a:lnTo>
                    <a:pt x="170" y="292"/>
                  </a:lnTo>
                  <a:lnTo>
                    <a:pt x="140" y="283"/>
                  </a:lnTo>
                  <a:lnTo>
                    <a:pt x="134" y="236"/>
                  </a:lnTo>
                  <a:lnTo>
                    <a:pt x="148" y="211"/>
                  </a:lnTo>
                  <a:lnTo>
                    <a:pt x="129" y="181"/>
                  </a:lnTo>
                  <a:lnTo>
                    <a:pt x="89" y="164"/>
                  </a:lnTo>
                  <a:lnTo>
                    <a:pt x="72" y="200"/>
                  </a:lnTo>
                  <a:lnTo>
                    <a:pt x="31" y="185"/>
                  </a:lnTo>
                  <a:lnTo>
                    <a:pt x="0" y="124"/>
                  </a:lnTo>
                  <a:lnTo>
                    <a:pt x="0" y="11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A1736D5B-AA45-4C4B-B4AF-B79734B80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7171" y="1842624"/>
              <a:ext cx="658704" cy="457561"/>
            </a:xfrm>
            <a:custGeom>
              <a:avLst/>
              <a:gdLst>
                <a:gd name="T0" fmla="*/ 6 w 429"/>
                <a:gd name="T1" fmla="*/ 115 h 298"/>
                <a:gd name="T2" fmla="*/ 72 w 429"/>
                <a:gd name="T3" fmla="*/ 171 h 298"/>
                <a:gd name="T4" fmla="*/ 93 w 429"/>
                <a:gd name="T5" fmla="*/ 226 h 298"/>
                <a:gd name="T6" fmla="*/ 108 w 429"/>
                <a:gd name="T7" fmla="*/ 247 h 298"/>
                <a:gd name="T8" fmla="*/ 202 w 429"/>
                <a:gd name="T9" fmla="*/ 249 h 298"/>
                <a:gd name="T10" fmla="*/ 295 w 429"/>
                <a:gd name="T11" fmla="*/ 298 h 298"/>
                <a:gd name="T12" fmla="*/ 306 w 429"/>
                <a:gd name="T13" fmla="*/ 279 h 298"/>
                <a:gd name="T14" fmla="*/ 331 w 429"/>
                <a:gd name="T15" fmla="*/ 281 h 298"/>
                <a:gd name="T16" fmla="*/ 348 w 429"/>
                <a:gd name="T17" fmla="*/ 251 h 298"/>
                <a:gd name="T18" fmla="*/ 370 w 429"/>
                <a:gd name="T19" fmla="*/ 262 h 298"/>
                <a:gd name="T20" fmla="*/ 408 w 429"/>
                <a:gd name="T21" fmla="*/ 249 h 298"/>
                <a:gd name="T22" fmla="*/ 393 w 429"/>
                <a:gd name="T23" fmla="*/ 205 h 298"/>
                <a:gd name="T24" fmla="*/ 429 w 429"/>
                <a:gd name="T25" fmla="*/ 147 h 298"/>
                <a:gd name="T26" fmla="*/ 421 w 429"/>
                <a:gd name="T27" fmla="*/ 137 h 298"/>
                <a:gd name="T28" fmla="*/ 402 w 429"/>
                <a:gd name="T29" fmla="*/ 124 h 298"/>
                <a:gd name="T30" fmla="*/ 346 w 429"/>
                <a:gd name="T31" fmla="*/ 134 h 298"/>
                <a:gd name="T32" fmla="*/ 344 w 429"/>
                <a:gd name="T33" fmla="*/ 113 h 298"/>
                <a:gd name="T34" fmla="*/ 323 w 429"/>
                <a:gd name="T35" fmla="*/ 128 h 298"/>
                <a:gd name="T36" fmla="*/ 329 w 429"/>
                <a:gd name="T37" fmla="*/ 100 h 298"/>
                <a:gd name="T38" fmla="*/ 312 w 429"/>
                <a:gd name="T39" fmla="*/ 96 h 298"/>
                <a:gd name="T40" fmla="*/ 310 w 429"/>
                <a:gd name="T41" fmla="*/ 111 h 298"/>
                <a:gd name="T42" fmla="*/ 282 w 429"/>
                <a:gd name="T43" fmla="*/ 90 h 298"/>
                <a:gd name="T44" fmla="*/ 259 w 429"/>
                <a:gd name="T45" fmla="*/ 90 h 298"/>
                <a:gd name="T46" fmla="*/ 246 w 429"/>
                <a:gd name="T47" fmla="*/ 109 h 298"/>
                <a:gd name="T48" fmla="*/ 238 w 429"/>
                <a:gd name="T49" fmla="*/ 86 h 298"/>
                <a:gd name="T50" fmla="*/ 263 w 429"/>
                <a:gd name="T51" fmla="*/ 69 h 298"/>
                <a:gd name="T52" fmla="*/ 253 w 429"/>
                <a:gd name="T53" fmla="*/ 56 h 298"/>
                <a:gd name="T54" fmla="*/ 183 w 429"/>
                <a:gd name="T55" fmla="*/ 71 h 298"/>
                <a:gd name="T56" fmla="*/ 134 w 429"/>
                <a:gd name="T57" fmla="*/ 17 h 298"/>
                <a:gd name="T58" fmla="*/ 93 w 429"/>
                <a:gd name="T59" fmla="*/ 5 h 298"/>
                <a:gd name="T60" fmla="*/ 70 w 429"/>
                <a:gd name="T61" fmla="*/ 15 h 298"/>
                <a:gd name="T62" fmla="*/ 55 w 429"/>
                <a:gd name="T63" fmla="*/ 0 h 298"/>
                <a:gd name="T64" fmla="*/ 40 w 429"/>
                <a:gd name="T65" fmla="*/ 37 h 298"/>
                <a:gd name="T66" fmla="*/ 72 w 429"/>
                <a:gd name="T67" fmla="*/ 71 h 298"/>
                <a:gd name="T68" fmla="*/ 40 w 429"/>
                <a:gd name="T69" fmla="*/ 58 h 298"/>
                <a:gd name="T70" fmla="*/ 0 w 429"/>
                <a:gd name="T71" fmla="*/ 111 h 298"/>
                <a:gd name="T72" fmla="*/ 6 w 429"/>
                <a:gd name="T73" fmla="*/ 11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9" h="298">
                  <a:moveTo>
                    <a:pt x="6" y="115"/>
                  </a:moveTo>
                  <a:lnTo>
                    <a:pt x="72" y="171"/>
                  </a:lnTo>
                  <a:lnTo>
                    <a:pt x="93" y="226"/>
                  </a:lnTo>
                  <a:lnTo>
                    <a:pt x="108" y="247"/>
                  </a:lnTo>
                  <a:lnTo>
                    <a:pt x="202" y="249"/>
                  </a:lnTo>
                  <a:lnTo>
                    <a:pt x="295" y="298"/>
                  </a:lnTo>
                  <a:lnTo>
                    <a:pt x="306" y="279"/>
                  </a:lnTo>
                  <a:lnTo>
                    <a:pt x="331" y="281"/>
                  </a:lnTo>
                  <a:lnTo>
                    <a:pt x="348" y="251"/>
                  </a:lnTo>
                  <a:lnTo>
                    <a:pt x="370" y="262"/>
                  </a:lnTo>
                  <a:lnTo>
                    <a:pt x="408" y="249"/>
                  </a:lnTo>
                  <a:lnTo>
                    <a:pt x="393" y="205"/>
                  </a:lnTo>
                  <a:lnTo>
                    <a:pt x="429" y="147"/>
                  </a:lnTo>
                  <a:lnTo>
                    <a:pt x="421" y="137"/>
                  </a:lnTo>
                  <a:lnTo>
                    <a:pt x="402" y="124"/>
                  </a:lnTo>
                  <a:lnTo>
                    <a:pt x="346" y="134"/>
                  </a:lnTo>
                  <a:lnTo>
                    <a:pt x="344" y="113"/>
                  </a:lnTo>
                  <a:lnTo>
                    <a:pt x="323" y="128"/>
                  </a:lnTo>
                  <a:lnTo>
                    <a:pt x="329" y="100"/>
                  </a:lnTo>
                  <a:lnTo>
                    <a:pt x="312" y="96"/>
                  </a:lnTo>
                  <a:lnTo>
                    <a:pt x="310" y="111"/>
                  </a:lnTo>
                  <a:lnTo>
                    <a:pt x="282" y="90"/>
                  </a:lnTo>
                  <a:lnTo>
                    <a:pt x="259" y="90"/>
                  </a:lnTo>
                  <a:lnTo>
                    <a:pt x="246" y="109"/>
                  </a:lnTo>
                  <a:lnTo>
                    <a:pt x="238" y="86"/>
                  </a:lnTo>
                  <a:lnTo>
                    <a:pt x="263" y="69"/>
                  </a:lnTo>
                  <a:lnTo>
                    <a:pt x="253" y="56"/>
                  </a:lnTo>
                  <a:lnTo>
                    <a:pt x="183" y="71"/>
                  </a:lnTo>
                  <a:lnTo>
                    <a:pt x="134" y="17"/>
                  </a:lnTo>
                  <a:lnTo>
                    <a:pt x="93" y="5"/>
                  </a:lnTo>
                  <a:lnTo>
                    <a:pt x="70" y="15"/>
                  </a:lnTo>
                  <a:lnTo>
                    <a:pt x="55" y="0"/>
                  </a:lnTo>
                  <a:lnTo>
                    <a:pt x="40" y="37"/>
                  </a:lnTo>
                  <a:lnTo>
                    <a:pt x="72" y="71"/>
                  </a:lnTo>
                  <a:lnTo>
                    <a:pt x="40" y="58"/>
                  </a:lnTo>
                  <a:lnTo>
                    <a:pt x="0" y="111"/>
                  </a:lnTo>
                  <a:lnTo>
                    <a:pt x="6" y="11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746AE7F3-A87A-4A11-94DA-0117E7B73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0130" y="5242089"/>
              <a:ext cx="457561" cy="365435"/>
            </a:xfrm>
            <a:custGeom>
              <a:avLst/>
              <a:gdLst>
                <a:gd name="T0" fmla="*/ 2 w 298"/>
                <a:gd name="T1" fmla="*/ 17 h 238"/>
                <a:gd name="T2" fmla="*/ 2 w 298"/>
                <a:gd name="T3" fmla="*/ 0 h 238"/>
                <a:gd name="T4" fmla="*/ 43 w 298"/>
                <a:gd name="T5" fmla="*/ 8 h 238"/>
                <a:gd name="T6" fmla="*/ 47 w 298"/>
                <a:gd name="T7" fmla="*/ 36 h 238"/>
                <a:gd name="T8" fmla="*/ 136 w 298"/>
                <a:gd name="T9" fmla="*/ 4 h 238"/>
                <a:gd name="T10" fmla="*/ 138 w 298"/>
                <a:gd name="T11" fmla="*/ 36 h 238"/>
                <a:gd name="T12" fmla="*/ 187 w 298"/>
                <a:gd name="T13" fmla="*/ 38 h 238"/>
                <a:gd name="T14" fmla="*/ 226 w 298"/>
                <a:gd name="T15" fmla="*/ 74 h 238"/>
                <a:gd name="T16" fmla="*/ 228 w 298"/>
                <a:gd name="T17" fmla="*/ 91 h 238"/>
                <a:gd name="T18" fmla="*/ 230 w 298"/>
                <a:gd name="T19" fmla="*/ 134 h 238"/>
                <a:gd name="T20" fmla="*/ 255 w 298"/>
                <a:gd name="T21" fmla="*/ 146 h 238"/>
                <a:gd name="T22" fmla="*/ 243 w 298"/>
                <a:gd name="T23" fmla="*/ 180 h 238"/>
                <a:gd name="T24" fmla="*/ 268 w 298"/>
                <a:gd name="T25" fmla="*/ 178 h 238"/>
                <a:gd name="T26" fmla="*/ 298 w 298"/>
                <a:gd name="T27" fmla="*/ 210 h 238"/>
                <a:gd name="T28" fmla="*/ 298 w 298"/>
                <a:gd name="T29" fmla="*/ 214 h 238"/>
                <a:gd name="T30" fmla="*/ 257 w 298"/>
                <a:gd name="T31" fmla="*/ 238 h 238"/>
                <a:gd name="T32" fmla="*/ 228 w 298"/>
                <a:gd name="T33" fmla="*/ 236 h 238"/>
                <a:gd name="T34" fmla="*/ 179 w 298"/>
                <a:gd name="T35" fmla="*/ 212 h 238"/>
                <a:gd name="T36" fmla="*/ 147 w 298"/>
                <a:gd name="T37" fmla="*/ 214 h 238"/>
                <a:gd name="T38" fmla="*/ 92 w 298"/>
                <a:gd name="T39" fmla="*/ 168 h 238"/>
                <a:gd name="T40" fmla="*/ 28 w 298"/>
                <a:gd name="T41" fmla="*/ 148 h 238"/>
                <a:gd name="T42" fmla="*/ 53 w 298"/>
                <a:gd name="T43" fmla="*/ 114 h 238"/>
                <a:gd name="T44" fmla="*/ 17 w 298"/>
                <a:gd name="T45" fmla="*/ 80 h 238"/>
                <a:gd name="T46" fmla="*/ 22 w 298"/>
                <a:gd name="T47" fmla="*/ 51 h 238"/>
                <a:gd name="T48" fmla="*/ 0 w 298"/>
                <a:gd name="T49" fmla="*/ 19 h 238"/>
                <a:gd name="T50" fmla="*/ 2 w 298"/>
                <a:gd name="T51" fmla="*/ 17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8" h="238">
                  <a:moveTo>
                    <a:pt x="2" y="17"/>
                  </a:moveTo>
                  <a:lnTo>
                    <a:pt x="2" y="0"/>
                  </a:lnTo>
                  <a:lnTo>
                    <a:pt x="43" y="8"/>
                  </a:lnTo>
                  <a:lnTo>
                    <a:pt x="47" y="36"/>
                  </a:lnTo>
                  <a:lnTo>
                    <a:pt x="136" y="4"/>
                  </a:lnTo>
                  <a:lnTo>
                    <a:pt x="138" y="36"/>
                  </a:lnTo>
                  <a:lnTo>
                    <a:pt x="187" y="38"/>
                  </a:lnTo>
                  <a:lnTo>
                    <a:pt x="226" y="74"/>
                  </a:lnTo>
                  <a:lnTo>
                    <a:pt x="228" y="91"/>
                  </a:lnTo>
                  <a:lnTo>
                    <a:pt x="230" y="134"/>
                  </a:lnTo>
                  <a:lnTo>
                    <a:pt x="255" y="146"/>
                  </a:lnTo>
                  <a:lnTo>
                    <a:pt x="243" y="180"/>
                  </a:lnTo>
                  <a:lnTo>
                    <a:pt x="268" y="178"/>
                  </a:lnTo>
                  <a:lnTo>
                    <a:pt x="298" y="210"/>
                  </a:lnTo>
                  <a:lnTo>
                    <a:pt x="298" y="214"/>
                  </a:lnTo>
                  <a:lnTo>
                    <a:pt x="257" y="238"/>
                  </a:lnTo>
                  <a:lnTo>
                    <a:pt x="228" y="236"/>
                  </a:lnTo>
                  <a:lnTo>
                    <a:pt x="179" y="212"/>
                  </a:lnTo>
                  <a:lnTo>
                    <a:pt x="147" y="214"/>
                  </a:lnTo>
                  <a:lnTo>
                    <a:pt x="92" y="168"/>
                  </a:lnTo>
                  <a:lnTo>
                    <a:pt x="28" y="148"/>
                  </a:lnTo>
                  <a:lnTo>
                    <a:pt x="53" y="114"/>
                  </a:lnTo>
                  <a:lnTo>
                    <a:pt x="17" y="80"/>
                  </a:lnTo>
                  <a:lnTo>
                    <a:pt x="22" y="51"/>
                  </a:lnTo>
                  <a:lnTo>
                    <a:pt x="0" y="19"/>
                  </a:lnTo>
                  <a:lnTo>
                    <a:pt x="2" y="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10C4729A-FCC3-43D7-B546-E3D06EEFB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1469" y="5182207"/>
              <a:ext cx="69095" cy="75237"/>
            </a:xfrm>
            <a:custGeom>
              <a:avLst/>
              <a:gdLst>
                <a:gd name="T0" fmla="*/ 0 w 45"/>
                <a:gd name="T1" fmla="*/ 24 h 49"/>
                <a:gd name="T2" fmla="*/ 21 w 45"/>
                <a:gd name="T3" fmla="*/ 0 h 49"/>
                <a:gd name="T4" fmla="*/ 45 w 45"/>
                <a:gd name="T5" fmla="*/ 22 h 49"/>
                <a:gd name="T6" fmla="*/ 24 w 45"/>
                <a:gd name="T7" fmla="*/ 49 h 49"/>
                <a:gd name="T8" fmla="*/ 0 w 45"/>
                <a:gd name="T9" fmla="*/ 2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9">
                  <a:moveTo>
                    <a:pt x="0" y="24"/>
                  </a:moveTo>
                  <a:lnTo>
                    <a:pt x="21" y="0"/>
                  </a:lnTo>
                  <a:lnTo>
                    <a:pt x="45" y="22"/>
                  </a:lnTo>
                  <a:lnTo>
                    <a:pt x="24" y="49"/>
                  </a:lnTo>
                  <a:lnTo>
                    <a:pt x="0" y="2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F03DC9DB-8EBE-4D80-B509-04FFDBF14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6066" y="3622199"/>
              <a:ext cx="492877" cy="634137"/>
            </a:xfrm>
            <a:custGeom>
              <a:avLst/>
              <a:gdLst>
                <a:gd name="T0" fmla="*/ 0 w 321"/>
                <a:gd name="T1" fmla="*/ 41 h 413"/>
                <a:gd name="T2" fmla="*/ 15 w 321"/>
                <a:gd name="T3" fmla="*/ 106 h 413"/>
                <a:gd name="T4" fmla="*/ 30 w 321"/>
                <a:gd name="T5" fmla="*/ 115 h 413"/>
                <a:gd name="T6" fmla="*/ 11 w 321"/>
                <a:gd name="T7" fmla="*/ 123 h 413"/>
                <a:gd name="T8" fmla="*/ 30 w 321"/>
                <a:gd name="T9" fmla="*/ 160 h 413"/>
                <a:gd name="T10" fmla="*/ 2 w 321"/>
                <a:gd name="T11" fmla="*/ 194 h 413"/>
                <a:gd name="T12" fmla="*/ 28 w 321"/>
                <a:gd name="T13" fmla="*/ 211 h 413"/>
                <a:gd name="T14" fmla="*/ 7 w 321"/>
                <a:gd name="T15" fmla="*/ 253 h 413"/>
                <a:gd name="T16" fmla="*/ 19 w 321"/>
                <a:gd name="T17" fmla="*/ 306 h 413"/>
                <a:gd name="T18" fmla="*/ 60 w 321"/>
                <a:gd name="T19" fmla="*/ 306 h 413"/>
                <a:gd name="T20" fmla="*/ 41 w 321"/>
                <a:gd name="T21" fmla="*/ 359 h 413"/>
                <a:gd name="T22" fmla="*/ 66 w 321"/>
                <a:gd name="T23" fmla="*/ 370 h 413"/>
                <a:gd name="T24" fmla="*/ 60 w 321"/>
                <a:gd name="T25" fmla="*/ 393 h 413"/>
                <a:gd name="T26" fmla="*/ 117 w 321"/>
                <a:gd name="T27" fmla="*/ 413 h 413"/>
                <a:gd name="T28" fmla="*/ 136 w 321"/>
                <a:gd name="T29" fmla="*/ 381 h 413"/>
                <a:gd name="T30" fmla="*/ 162 w 321"/>
                <a:gd name="T31" fmla="*/ 404 h 413"/>
                <a:gd name="T32" fmla="*/ 194 w 321"/>
                <a:gd name="T33" fmla="*/ 383 h 413"/>
                <a:gd name="T34" fmla="*/ 221 w 321"/>
                <a:gd name="T35" fmla="*/ 387 h 413"/>
                <a:gd name="T36" fmla="*/ 219 w 321"/>
                <a:gd name="T37" fmla="*/ 351 h 413"/>
                <a:gd name="T38" fmla="*/ 313 w 321"/>
                <a:gd name="T39" fmla="*/ 296 h 413"/>
                <a:gd name="T40" fmla="*/ 321 w 321"/>
                <a:gd name="T41" fmla="*/ 279 h 413"/>
                <a:gd name="T42" fmla="*/ 306 w 321"/>
                <a:gd name="T43" fmla="*/ 272 h 413"/>
                <a:gd name="T44" fmla="*/ 306 w 321"/>
                <a:gd name="T45" fmla="*/ 251 h 413"/>
                <a:gd name="T46" fmla="*/ 247 w 321"/>
                <a:gd name="T47" fmla="*/ 217 h 413"/>
                <a:gd name="T48" fmla="*/ 240 w 321"/>
                <a:gd name="T49" fmla="*/ 164 h 413"/>
                <a:gd name="T50" fmla="*/ 238 w 321"/>
                <a:gd name="T51" fmla="*/ 160 h 413"/>
                <a:gd name="T52" fmla="*/ 196 w 321"/>
                <a:gd name="T53" fmla="*/ 77 h 413"/>
                <a:gd name="T54" fmla="*/ 166 w 321"/>
                <a:gd name="T55" fmla="*/ 64 h 413"/>
                <a:gd name="T56" fmla="*/ 172 w 321"/>
                <a:gd name="T57" fmla="*/ 81 h 413"/>
                <a:gd name="T58" fmla="*/ 104 w 321"/>
                <a:gd name="T59" fmla="*/ 89 h 413"/>
                <a:gd name="T60" fmla="*/ 100 w 321"/>
                <a:gd name="T61" fmla="*/ 45 h 413"/>
                <a:gd name="T62" fmla="*/ 68 w 321"/>
                <a:gd name="T63" fmla="*/ 41 h 413"/>
                <a:gd name="T64" fmla="*/ 73 w 321"/>
                <a:gd name="T65" fmla="*/ 21 h 413"/>
                <a:gd name="T66" fmla="*/ 41 w 321"/>
                <a:gd name="T67" fmla="*/ 4 h 413"/>
                <a:gd name="T68" fmla="*/ 41 w 321"/>
                <a:gd name="T69" fmla="*/ 0 h 413"/>
                <a:gd name="T70" fmla="*/ 0 w 321"/>
                <a:gd name="T71" fmla="*/ 36 h 413"/>
                <a:gd name="T72" fmla="*/ 0 w 321"/>
                <a:gd name="T73" fmla="*/ 41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1" h="413">
                  <a:moveTo>
                    <a:pt x="0" y="41"/>
                  </a:moveTo>
                  <a:lnTo>
                    <a:pt x="15" y="106"/>
                  </a:lnTo>
                  <a:lnTo>
                    <a:pt x="30" y="115"/>
                  </a:lnTo>
                  <a:lnTo>
                    <a:pt x="11" y="123"/>
                  </a:lnTo>
                  <a:lnTo>
                    <a:pt x="30" y="160"/>
                  </a:lnTo>
                  <a:lnTo>
                    <a:pt x="2" y="194"/>
                  </a:lnTo>
                  <a:lnTo>
                    <a:pt x="28" y="211"/>
                  </a:lnTo>
                  <a:lnTo>
                    <a:pt x="7" y="253"/>
                  </a:lnTo>
                  <a:lnTo>
                    <a:pt x="19" y="306"/>
                  </a:lnTo>
                  <a:lnTo>
                    <a:pt x="60" y="306"/>
                  </a:lnTo>
                  <a:lnTo>
                    <a:pt x="41" y="359"/>
                  </a:lnTo>
                  <a:lnTo>
                    <a:pt x="66" y="370"/>
                  </a:lnTo>
                  <a:lnTo>
                    <a:pt x="60" y="393"/>
                  </a:lnTo>
                  <a:lnTo>
                    <a:pt x="117" y="413"/>
                  </a:lnTo>
                  <a:lnTo>
                    <a:pt x="136" y="381"/>
                  </a:lnTo>
                  <a:lnTo>
                    <a:pt x="162" y="404"/>
                  </a:lnTo>
                  <a:lnTo>
                    <a:pt x="194" y="383"/>
                  </a:lnTo>
                  <a:lnTo>
                    <a:pt x="221" y="387"/>
                  </a:lnTo>
                  <a:lnTo>
                    <a:pt x="219" y="351"/>
                  </a:lnTo>
                  <a:lnTo>
                    <a:pt x="313" y="296"/>
                  </a:lnTo>
                  <a:lnTo>
                    <a:pt x="321" y="279"/>
                  </a:lnTo>
                  <a:lnTo>
                    <a:pt x="306" y="272"/>
                  </a:lnTo>
                  <a:lnTo>
                    <a:pt x="306" y="251"/>
                  </a:lnTo>
                  <a:lnTo>
                    <a:pt x="247" y="217"/>
                  </a:lnTo>
                  <a:lnTo>
                    <a:pt x="240" y="164"/>
                  </a:lnTo>
                  <a:lnTo>
                    <a:pt x="238" y="160"/>
                  </a:lnTo>
                  <a:lnTo>
                    <a:pt x="196" y="77"/>
                  </a:lnTo>
                  <a:lnTo>
                    <a:pt x="166" y="64"/>
                  </a:lnTo>
                  <a:lnTo>
                    <a:pt x="172" y="81"/>
                  </a:lnTo>
                  <a:lnTo>
                    <a:pt x="104" y="89"/>
                  </a:lnTo>
                  <a:lnTo>
                    <a:pt x="100" y="45"/>
                  </a:lnTo>
                  <a:lnTo>
                    <a:pt x="68" y="41"/>
                  </a:lnTo>
                  <a:lnTo>
                    <a:pt x="73" y="21"/>
                  </a:lnTo>
                  <a:lnTo>
                    <a:pt x="41" y="4"/>
                  </a:lnTo>
                  <a:lnTo>
                    <a:pt x="41" y="0"/>
                  </a:lnTo>
                  <a:lnTo>
                    <a:pt x="0" y="36"/>
                  </a:lnTo>
                  <a:lnTo>
                    <a:pt x="0" y="4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1C191D29-A574-4CEB-B221-61535CB8C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4779" y="3256764"/>
              <a:ext cx="148938" cy="214962"/>
            </a:xfrm>
            <a:custGeom>
              <a:avLst/>
              <a:gdLst>
                <a:gd name="T0" fmla="*/ 2 w 97"/>
                <a:gd name="T1" fmla="*/ 32 h 140"/>
                <a:gd name="T2" fmla="*/ 17 w 97"/>
                <a:gd name="T3" fmla="*/ 96 h 140"/>
                <a:gd name="T4" fmla="*/ 51 w 97"/>
                <a:gd name="T5" fmla="*/ 113 h 140"/>
                <a:gd name="T6" fmla="*/ 40 w 97"/>
                <a:gd name="T7" fmla="*/ 119 h 140"/>
                <a:gd name="T8" fmla="*/ 51 w 97"/>
                <a:gd name="T9" fmla="*/ 140 h 140"/>
                <a:gd name="T10" fmla="*/ 61 w 97"/>
                <a:gd name="T11" fmla="*/ 119 h 140"/>
                <a:gd name="T12" fmla="*/ 97 w 97"/>
                <a:gd name="T13" fmla="*/ 115 h 140"/>
                <a:gd name="T14" fmla="*/ 83 w 97"/>
                <a:gd name="T15" fmla="*/ 79 h 140"/>
                <a:gd name="T16" fmla="*/ 63 w 97"/>
                <a:gd name="T17" fmla="*/ 81 h 140"/>
                <a:gd name="T18" fmla="*/ 70 w 97"/>
                <a:gd name="T19" fmla="*/ 36 h 140"/>
                <a:gd name="T20" fmla="*/ 23 w 97"/>
                <a:gd name="T21" fmla="*/ 4 h 140"/>
                <a:gd name="T22" fmla="*/ 21 w 97"/>
                <a:gd name="T23" fmla="*/ 0 h 140"/>
                <a:gd name="T24" fmla="*/ 15 w 97"/>
                <a:gd name="T25" fmla="*/ 2 h 140"/>
                <a:gd name="T26" fmla="*/ 0 w 97"/>
                <a:gd name="T27" fmla="*/ 28 h 140"/>
                <a:gd name="T28" fmla="*/ 2 w 97"/>
                <a:gd name="T29" fmla="*/ 3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140">
                  <a:moveTo>
                    <a:pt x="2" y="32"/>
                  </a:moveTo>
                  <a:lnTo>
                    <a:pt x="17" y="96"/>
                  </a:lnTo>
                  <a:lnTo>
                    <a:pt x="51" y="113"/>
                  </a:lnTo>
                  <a:lnTo>
                    <a:pt x="40" y="119"/>
                  </a:lnTo>
                  <a:lnTo>
                    <a:pt x="51" y="140"/>
                  </a:lnTo>
                  <a:lnTo>
                    <a:pt x="61" y="119"/>
                  </a:lnTo>
                  <a:lnTo>
                    <a:pt x="97" y="115"/>
                  </a:lnTo>
                  <a:lnTo>
                    <a:pt x="83" y="79"/>
                  </a:lnTo>
                  <a:lnTo>
                    <a:pt x="63" y="81"/>
                  </a:lnTo>
                  <a:lnTo>
                    <a:pt x="70" y="36"/>
                  </a:lnTo>
                  <a:lnTo>
                    <a:pt x="23" y="4"/>
                  </a:lnTo>
                  <a:lnTo>
                    <a:pt x="21" y="0"/>
                  </a:lnTo>
                  <a:lnTo>
                    <a:pt x="15" y="2"/>
                  </a:lnTo>
                  <a:lnTo>
                    <a:pt x="0" y="28"/>
                  </a:lnTo>
                  <a:lnTo>
                    <a:pt x="2" y="3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6F00BD7F-713D-4884-A2FF-B7391E596C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3914" y="5196026"/>
              <a:ext cx="429923" cy="492877"/>
            </a:xfrm>
            <a:custGeom>
              <a:avLst/>
              <a:gdLst>
                <a:gd name="T0" fmla="*/ 0 w 280"/>
                <a:gd name="T1" fmla="*/ 212 h 321"/>
                <a:gd name="T2" fmla="*/ 19 w 280"/>
                <a:gd name="T3" fmla="*/ 204 h 321"/>
                <a:gd name="T4" fmla="*/ 8 w 280"/>
                <a:gd name="T5" fmla="*/ 176 h 321"/>
                <a:gd name="T6" fmla="*/ 80 w 280"/>
                <a:gd name="T7" fmla="*/ 168 h 321"/>
                <a:gd name="T8" fmla="*/ 25 w 280"/>
                <a:gd name="T9" fmla="*/ 119 h 321"/>
                <a:gd name="T10" fmla="*/ 8 w 280"/>
                <a:gd name="T11" fmla="*/ 72 h 321"/>
                <a:gd name="T12" fmla="*/ 59 w 280"/>
                <a:gd name="T13" fmla="*/ 0 h 321"/>
                <a:gd name="T14" fmla="*/ 93 w 280"/>
                <a:gd name="T15" fmla="*/ 47 h 321"/>
                <a:gd name="T16" fmla="*/ 159 w 280"/>
                <a:gd name="T17" fmla="*/ 72 h 321"/>
                <a:gd name="T18" fmla="*/ 204 w 280"/>
                <a:gd name="T19" fmla="*/ 83 h 321"/>
                <a:gd name="T20" fmla="*/ 270 w 280"/>
                <a:gd name="T21" fmla="*/ 57 h 321"/>
                <a:gd name="T22" fmla="*/ 280 w 280"/>
                <a:gd name="T23" fmla="*/ 91 h 321"/>
                <a:gd name="T24" fmla="*/ 227 w 280"/>
                <a:gd name="T25" fmla="*/ 168 h 321"/>
                <a:gd name="T26" fmla="*/ 236 w 280"/>
                <a:gd name="T27" fmla="*/ 202 h 321"/>
                <a:gd name="T28" fmla="*/ 184 w 280"/>
                <a:gd name="T29" fmla="*/ 244 h 321"/>
                <a:gd name="T30" fmla="*/ 180 w 280"/>
                <a:gd name="T31" fmla="*/ 234 h 321"/>
                <a:gd name="T32" fmla="*/ 138 w 280"/>
                <a:gd name="T33" fmla="*/ 255 h 321"/>
                <a:gd name="T34" fmla="*/ 138 w 280"/>
                <a:gd name="T35" fmla="*/ 293 h 321"/>
                <a:gd name="T36" fmla="*/ 89 w 280"/>
                <a:gd name="T37" fmla="*/ 300 h 321"/>
                <a:gd name="T38" fmla="*/ 82 w 280"/>
                <a:gd name="T39" fmla="*/ 321 h 321"/>
                <a:gd name="T40" fmla="*/ 68 w 280"/>
                <a:gd name="T41" fmla="*/ 304 h 321"/>
                <a:gd name="T42" fmla="*/ 76 w 280"/>
                <a:gd name="T43" fmla="*/ 278 h 321"/>
                <a:gd name="T44" fmla="*/ 46 w 280"/>
                <a:gd name="T45" fmla="*/ 268 h 321"/>
                <a:gd name="T46" fmla="*/ 31 w 280"/>
                <a:gd name="T47" fmla="*/ 229 h 321"/>
                <a:gd name="T48" fmla="*/ 0 w 280"/>
                <a:gd name="T49" fmla="*/ 215 h 321"/>
                <a:gd name="T50" fmla="*/ 0 w 280"/>
                <a:gd name="T51" fmla="*/ 21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0" h="321">
                  <a:moveTo>
                    <a:pt x="0" y="212"/>
                  </a:moveTo>
                  <a:lnTo>
                    <a:pt x="19" y="204"/>
                  </a:lnTo>
                  <a:lnTo>
                    <a:pt x="8" y="176"/>
                  </a:lnTo>
                  <a:lnTo>
                    <a:pt x="80" y="168"/>
                  </a:lnTo>
                  <a:lnTo>
                    <a:pt x="25" y="119"/>
                  </a:lnTo>
                  <a:lnTo>
                    <a:pt x="8" y="72"/>
                  </a:lnTo>
                  <a:lnTo>
                    <a:pt x="59" y="0"/>
                  </a:lnTo>
                  <a:lnTo>
                    <a:pt x="93" y="47"/>
                  </a:lnTo>
                  <a:lnTo>
                    <a:pt x="159" y="72"/>
                  </a:lnTo>
                  <a:lnTo>
                    <a:pt x="204" y="83"/>
                  </a:lnTo>
                  <a:lnTo>
                    <a:pt x="270" y="57"/>
                  </a:lnTo>
                  <a:lnTo>
                    <a:pt x="280" y="91"/>
                  </a:lnTo>
                  <a:lnTo>
                    <a:pt x="227" y="168"/>
                  </a:lnTo>
                  <a:lnTo>
                    <a:pt x="236" y="202"/>
                  </a:lnTo>
                  <a:lnTo>
                    <a:pt x="184" y="244"/>
                  </a:lnTo>
                  <a:lnTo>
                    <a:pt x="180" y="234"/>
                  </a:lnTo>
                  <a:lnTo>
                    <a:pt x="138" y="255"/>
                  </a:lnTo>
                  <a:lnTo>
                    <a:pt x="138" y="293"/>
                  </a:lnTo>
                  <a:lnTo>
                    <a:pt x="89" y="300"/>
                  </a:lnTo>
                  <a:lnTo>
                    <a:pt x="82" y="321"/>
                  </a:lnTo>
                  <a:lnTo>
                    <a:pt x="68" y="304"/>
                  </a:lnTo>
                  <a:lnTo>
                    <a:pt x="76" y="278"/>
                  </a:lnTo>
                  <a:lnTo>
                    <a:pt x="46" y="268"/>
                  </a:lnTo>
                  <a:lnTo>
                    <a:pt x="31" y="229"/>
                  </a:lnTo>
                  <a:lnTo>
                    <a:pt x="0" y="215"/>
                  </a:lnTo>
                  <a:lnTo>
                    <a:pt x="0" y="21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132AA451-A397-4602-B459-40156E1D7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9020" y="3335072"/>
              <a:ext cx="495948" cy="532798"/>
            </a:xfrm>
            <a:custGeom>
              <a:avLst/>
              <a:gdLst>
                <a:gd name="T0" fmla="*/ 0 w 323"/>
                <a:gd name="T1" fmla="*/ 191 h 347"/>
                <a:gd name="T2" fmla="*/ 32 w 323"/>
                <a:gd name="T3" fmla="*/ 208 h 347"/>
                <a:gd name="T4" fmla="*/ 27 w 323"/>
                <a:gd name="T5" fmla="*/ 228 h 347"/>
                <a:gd name="T6" fmla="*/ 59 w 323"/>
                <a:gd name="T7" fmla="*/ 232 h 347"/>
                <a:gd name="T8" fmla="*/ 63 w 323"/>
                <a:gd name="T9" fmla="*/ 276 h 347"/>
                <a:gd name="T10" fmla="*/ 131 w 323"/>
                <a:gd name="T11" fmla="*/ 268 h 347"/>
                <a:gd name="T12" fmla="*/ 125 w 323"/>
                <a:gd name="T13" fmla="*/ 251 h 347"/>
                <a:gd name="T14" fmla="*/ 155 w 323"/>
                <a:gd name="T15" fmla="*/ 264 h 347"/>
                <a:gd name="T16" fmla="*/ 197 w 323"/>
                <a:gd name="T17" fmla="*/ 347 h 347"/>
                <a:gd name="T18" fmla="*/ 231 w 323"/>
                <a:gd name="T19" fmla="*/ 344 h 347"/>
                <a:gd name="T20" fmla="*/ 246 w 323"/>
                <a:gd name="T21" fmla="*/ 259 h 347"/>
                <a:gd name="T22" fmla="*/ 272 w 323"/>
                <a:gd name="T23" fmla="*/ 245 h 347"/>
                <a:gd name="T24" fmla="*/ 297 w 323"/>
                <a:gd name="T25" fmla="*/ 251 h 347"/>
                <a:gd name="T26" fmla="*/ 323 w 323"/>
                <a:gd name="T27" fmla="*/ 219 h 347"/>
                <a:gd name="T28" fmla="*/ 319 w 323"/>
                <a:gd name="T29" fmla="*/ 191 h 347"/>
                <a:gd name="T30" fmla="*/ 297 w 323"/>
                <a:gd name="T31" fmla="*/ 153 h 347"/>
                <a:gd name="T32" fmla="*/ 263 w 323"/>
                <a:gd name="T33" fmla="*/ 149 h 347"/>
                <a:gd name="T34" fmla="*/ 272 w 323"/>
                <a:gd name="T35" fmla="*/ 96 h 347"/>
                <a:gd name="T36" fmla="*/ 248 w 323"/>
                <a:gd name="T37" fmla="*/ 36 h 347"/>
                <a:gd name="T38" fmla="*/ 221 w 323"/>
                <a:gd name="T39" fmla="*/ 26 h 347"/>
                <a:gd name="T40" fmla="*/ 206 w 323"/>
                <a:gd name="T41" fmla="*/ 36 h 347"/>
                <a:gd name="T42" fmla="*/ 206 w 323"/>
                <a:gd name="T43" fmla="*/ 6 h 347"/>
                <a:gd name="T44" fmla="*/ 146 w 323"/>
                <a:gd name="T45" fmla="*/ 0 h 347"/>
                <a:gd name="T46" fmla="*/ 104 w 323"/>
                <a:gd name="T47" fmla="*/ 26 h 347"/>
                <a:gd name="T48" fmla="*/ 89 w 323"/>
                <a:gd name="T49" fmla="*/ 17 h 347"/>
                <a:gd name="T50" fmla="*/ 85 w 323"/>
                <a:gd name="T51" fmla="*/ 43 h 347"/>
                <a:gd name="T52" fmla="*/ 49 w 323"/>
                <a:gd name="T53" fmla="*/ 28 h 347"/>
                <a:gd name="T54" fmla="*/ 0 w 323"/>
                <a:gd name="T55" fmla="*/ 187 h 347"/>
                <a:gd name="T56" fmla="*/ 0 w 323"/>
                <a:gd name="T57" fmla="*/ 19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3" h="347">
                  <a:moveTo>
                    <a:pt x="0" y="191"/>
                  </a:moveTo>
                  <a:lnTo>
                    <a:pt x="32" y="208"/>
                  </a:lnTo>
                  <a:lnTo>
                    <a:pt x="27" y="228"/>
                  </a:lnTo>
                  <a:lnTo>
                    <a:pt x="59" y="232"/>
                  </a:lnTo>
                  <a:lnTo>
                    <a:pt x="63" y="276"/>
                  </a:lnTo>
                  <a:lnTo>
                    <a:pt x="131" y="268"/>
                  </a:lnTo>
                  <a:lnTo>
                    <a:pt x="125" y="251"/>
                  </a:lnTo>
                  <a:lnTo>
                    <a:pt x="155" y="264"/>
                  </a:lnTo>
                  <a:lnTo>
                    <a:pt x="197" y="347"/>
                  </a:lnTo>
                  <a:lnTo>
                    <a:pt x="231" y="344"/>
                  </a:lnTo>
                  <a:lnTo>
                    <a:pt x="246" y="259"/>
                  </a:lnTo>
                  <a:lnTo>
                    <a:pt x="272" y="245"/>
                  </a:lnTo>
                  <a:lnTo>
                    <a:pt x="297" y="251"/>
                  </a:lnTo>
                  <a:lnTo>
                    <a:pt x="323" y="219"/>
                  </a:lnTo>
                  <a:lnTo>
                    <a:pt x="319" y="191"/>
                  </a:lnTo>
                  <a:lnTo>
                    <a:pt x="297" y="153"/>
                  </a:lnTo>
                  <a:lnTo>
                    <a:pt x="263" y="149"/>
                  </a:lnTo>
                  <a:lnTo>
                    <a:pt x="272" y="96"/>
                  </a:lnTo>
                  <a:lnTo>
                    <a:pt x="248" y="36"/>
                  </a:lnTo>
                  <a:lnTo>
                    <a:pt x="221" y="26"/>
                  </a:lnTo>
                  <a:lnTo>
                    <a:pt x="206" y="36"/>
                  </a:lnTo>
                  <a:lnTo>
                    <a:pt x="206" y="6"/>
                  </a:lnTo>
                  <a:lnTo>
                    <a:pt x="146" y="0"/>
                  </a:lnTo>
                  <a:lnTo>
                    <a:pt x="104" y="26"/>
                  </a:lnTo>
                  <a:lnTo>
                    <a:pt x="89" y="17"/>
                  </a:lnTo>
                  <a:lnTo>
                    <a:pt x="85" y="43"/>
                  </a:lnTo>
                  <a:lnTo>
                    <a:pt x="49" y="28"/>
                  </a:lnTo>
                  <a:lnTo>
                    <a:pt x="0" y="187"/>
                  </a:lnTo>
                  <a:lnTo>
                    <a:pt x="0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98071D8F-4109-4F8C-98D7-9065371B4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6345" y="5731895"/>
              <a:ext cx="635672" cy="446814"/>
            </a:xfrm>
            <a:custGeom>
              <a:avLst/>
              <a:gdLst>
                <a:gd name="T0" fmla="*/ 4 w 414"/>
                <a:gd name="T1" fmla="*/ 61 h 291"/>
                <a:gd name="T2" fmla="*/ 13 w 414"/>
                <a:gd name="T3" fmla="*/ 42 h 291"/>
                <a:gd name="T4" fmla="*/ 34 w 414"/>
                <a:gd name="T5" fmla="*/ 40 h 291"/>
                <a:gd name="T6" fmla="*/ 45 w 414"/>
                <a:gd name="T7" fmla="*/ 4 h 291"/>
                <a:gd name="T8" fmla="*/ 59 w 414"/>
                <a:gd name="T9" fmla="*/ 21 h 291"/>
                <a:gd name="T10" fmla="*/ 93 w 414"/>
                <a:gd name="T11" fmla="*/ 8 h 291"/>
                <a:gd name="T12" fmla="*/ 140 w 414"/>
                <a:gd name="T13" fmla="*/ 27 h 291"/>
                <a:gd name="T14" fmla="*/ 153 w 414"/>
                <a:gd name="T15" fmla="*/ 0 h 291"/>
                <a:gd name="T16" fmla="*/ 236 w 414"/>
                <a:gd name="T17" fmla="*/ 14 h 291"/>
                <a:gd name="T18" fmla="*/ 229 w 414"/>
                <a:gd name="T19" fmla="*/ 40 h 291"/>
                <a:gd name="T20" fmla="*/ 227 w 414"/>
                <a:gd name="T21" fmla="*/ 42 h 291"/>
                <a:gd name="T22" fmla="*/ 249 w 414"/>
                <a:gd name="T23" fmla="*/ 63 h 291"/>
                <a:gd name="T24" fmla="*/ 268 w 414"/>
                <a:gd name="T25" fmla="*/ 53 h 291"/>
                <a:gd name="T26" fmla="*/ 285 w 414"/>
                <a:gd name="T27" fmla="*/ 76 h 291"/>
                <a:gd name="T28" fmla="*/ 317 w 414"/>
                <a:gd name="T29" fmla="*/ 31 h 291"/>
                <a:gd name="T30" fmla="*/ 323 w 414"/>
                <a:gd name="T31" fmla="*/ 51 h 291"/>
                <a:gd name="T32" fmla="*/ 414 w 414"/>
                <a:gd name="T33" fmla="*/ 91 h 291"/>
                <a:gd name="T34" fmla="*/ 374 w 414"/>
                <a:gd name="T35" fmla="*/ 146 h 291"/>
                <a:gd name="T36" fmla="*/ 372 w 414"/>
                <a:gd name="T37" fmla="*/ 148 h 291"/>
                <a:gd name="T38" fmla="*/ 359 w 414"/>
                <a:gd name="T39" fmla="*/ 191 h 291"/>
                <a:gd name="T40" fmla="*/ 361 w 414"/>
                <a:gd name="T41" fmla="*/ 229 h 291"/>
                <a:gd name="T42" fmla="*/ 357 w 414"/>
                <a:gd name="T43" fmla="*/ 227 h 291"/>
                <a:gd name="T44" fmla="*/ 342 w 414"/>
                <a:gd name="T45" fmla="*/ 219 h 291"/>
                <a:gd name="T46" fmla="*/ 314 w 414"/>
                <a:gd name="T47" fmla="*/ 199 h 291"/>
                <a:gd name="T48" fmla="*/ 278 w 414"/>
                <a:gd name="T49" fmla="*/ 231 h 291"/>
                <a:gd name="T50" fmla="*/ 181 w 414"/>
                <a:gd name="T51" fmla="*/ 225 h 291"/>
                <a:gd name="T52" fmla="*/ 170 w 414"/>
                <a:gd name="T53" fmla="*/ 229 h 291"/>
                <a:gd name="T54" fmla="*/ 178 w 414"/>
                <a:gd name="T55" fmla="*/ 265 h 291"/>
                <a:gd name="T56" fmla="*/ 125 w 414"/>
                <a:gd name="T57" fmla="*/ 291 h 291"/>
                <a:gd name="T58" fmla="*/ 102 w 414"/>
                <a:gd name="T59" fmla="*/ 257 h 291"/>
                <a:gd name="T60" fmla="*/ 68 w 414"/>
                <a:gd name="T61" fmla="*/ 263 h 291"/>
                <a:gd name="T62" fmla="*/ 42 w 414"/>
                <a:gd name="T63" fmla="*/ 231 h 291"/>
                <a:gd name="T64" fmla="*/ 79 w 414"/>
                <a:gd name="T65" fmla="*/ 212 h 291"/>
                <a:gd name="T66" fmla="*/ 64 w 414"/>
                <a:gd name="T67" fmla="*/ 189 h 291"/>
                <a:gd name="T68" fmla="*/ 83 w 414"/>
                <a:gd name="T69" fmla="*/ 182 h 291"/>
                <a:gd name="T70" fmla="*/ 79 w 414"/>
                <a:gd name="T71" fmla="*/ 155 h 291"/>
                <a:gd name="T72" fmla="*/ 68 w 414"/>
                <a:gd name="T73" fmla="*/ 121 h 291"/>
                <a:gd name="T74" fmla="*/ 6 w 414"/>
                <a:gd name="T75" fmla="*/ 95 h 291"/>
                <a:gd name="T76" fmla="*/ 0 w 414"/>
                <a:gd name="T77" fmla="*/ 65 h 291"/>
                <a:gd name="T78" fmla="*/ 4 w 414"/>
                <a:gd name="T79" fmla="*/ 6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14" h="291">
                  <a:moveTo>
                    <a:pt x="4" y="61"/>
                  </a:moveTo>
                  <a:lnTo>
                    <a:pt x="13" y="42"/>
                  </a:lnTo>
                  <a:lnTo>
                    <a:pt x="34" y="40"/>
                  </a:lnTo>
                  <a:lnTo>
                    <a:pt x="45" y="4"/>
                  </a:lnTo>
                  <a:lnTo>
                    <a:pt x="59" y="21"/>
                  </a:lnTo>
                  <a:lnTo>
                    <a:pt x="93" y="8"/>
                  </a:lnTo>
                  <a:lnTo>
                    <a:pt x="140" y="27"/>
                  </a:lnTo>
                  <a:lnTo>
                    <a:pt x="153" y="0"/>
                  </a:lnTo>
                  <a:lnTo>
                    <a:pt x="236" y="14"/>
                  </a:lnTo>
                  <a:lnTo>
                    <a:pt x="229" y="40"/>
                  </a:lnTo>
                  <a:lnTo>
                    <a:pt x="227" y="42"/>
                  </a:lnTo>
                  <a:lnTo>
                    <a:pt x="249" y="63"/>
                  </a:lnTo>
                  <a:lnTo>
                    <a:pt x="268" y="53"/>
                  </a:lnTo>
                  <a:lnTo>
                    <a:pt x="285" y="76"/>
                  </a:lnTo>
                  <a:lnTo>
                    <a:pt x="317" y="31"/>
                  </a:lnTo>
                  <a:lnTo>
                    <a:pt x="323" y="51"/>
                  </a:lnTo>
                  <a:lnTo>
                    <a:pt x="414" y="91"/>
                  </a:lnTo>
                  <a:lnTo>
                    <a:pt x="374" y="146"/>
                  </a:lnTo>
                  <a:lnTo>
                    <a:pt x="372" y="148"/>
                  </a:lnTo>
                  <a:lnTo>
                    <a:pt x="359" y="191"/>
                  </a:lnTo>
                  <a:lnTo>
                    <a:pt x="361" y="229"/>
                  </a:lnTo>
                  <a:lnTo>
                    <a:pt x="357" y="227"/>
                  </a:lnTo>
                  <a:lnTo>
                    <a:pt x="342" y="219"/>
                  </a:lnTo>
                  <a:lnTo>
                    <a:pt x="314" y="199"/>
                  </a:lnTo>
                  <a:lnTo>
                    <a:pt x="278" y="231"/>
                  </a:lnTo>
                  <a:lnTo>
                    <a:pt x="181" y="225"/>
                  </a:lnTo>
                  <a:lnTo>
                    <a:pt x="170" y="229"/>
                  </a:lnTo>
                  <a:lnTo>
                    <a:pt x="178" y="265"/>
                  </a:lnTo>
                  <a:lnTo>
                    <a:pt x="125" y="291"/>
                  </a:lnTo>
                  <a:lnTo>
                    <a:pt x="102" y="257"/>
                  </a:lnTo>
                  <a:lnTo>
                    <a:pt x="68" y="263"/>
                  </a:lnTo>
                  <a:lnTo>
                    <a:pt x="42" y="231"/>
                  </a:lnTo>
                  <a:lnTo>
                    <a:pt x="79" y="212"/>
                  </a:lnTo>
                  <a:lnTo>
                    <a:pt x="64" y="189"/>
                  </a:lnTo>
                  <a:lnTo>
                    <a:pt x="83" y="182"/>
                  </a:lnTo>
                  <a:lnTo>
                    <a:pt x="79" y="155"/>
                  </a:lnTo>
                  <a:lnTo>
                    <a:pt x="68" y="121"/>
                  </a:lnTo>
                  <a:lnTo>
                    <a:pt x="6" y="95"/>
                  </a:lnTo>
                  <a:lnTo>
                    <a:pt x="0" y="65"/>
                  </a:lnTo>
                  <a:lnTo>
                    <a:pt x="4" y="6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C3CCB2A7-530C-48FB-BF11-084C2408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0593" y="2352390"/>
              <a:ext cx="597287" cy="365435"/>
            </a:xfrm>
            <a:custGeom>
              <a:avLst/>
              <a:gdLst>
                <a:gd name="T0" fmla="*/ 0 w 389"/>
                <a:gd name="T1" fmla="*/ 204 h 238"/>
                <a:gd name="T2" fmla="*/ 34 w 389"/>
                <a:gd name="T3" fmla="*/ 181 h 238"/>
                <a:gd name="T4" fmla="*/ 28 w 389"/>
                <a:gd name="T5" fmla="*/ 160 h 238"/>
                <a:gd name="T6" fmla="*/ 53 w 389"/>
                <a:gd name="T7" fmla="*/ 160 h 238"/>
                <a:gd name="T8" fmla="*/ 72 w 389"/>
                <a:gd name="T9" fmla="*/ 136 h 238"/>
                <a:gd name="T10" fmla="*/ 70 w 389"/>
                <a:gd name="T11" fmla="*/ 98 h 238"/>
                <a:gd name="T12" fmla="*/ 55 w 389"/>
                <a:gd name="T13" fmla="*/ 87 h 238"/>
                <a:gd name="T14" fmla="*/ 70 w 389"/>
                <a:gd name="T15" fmla="*/ 72 h 238"/>
                <a:gd name="T16" fmla="*/ 40 w 389"/>
                <a:gd name="T17" fmla="*/ 70 h 238"/>
                <a:gd name="T18" fmla="*/ 15 w 389"/>
                <a:gd name="T19" fmla="*/ 43 h 238"/>
                <a:gd name="T20" fmla="*/ 19 w 389"/>
                <a:gd name="T21" fmla="*/ 21 h 238"/>
                <a:gd name="T22" fmla="*/ 30 w 389"/>
                <a:gd name="T23" fmla="*/ 2 h 238"/>
                <a:gd name="T24" fmla="*/ 53 w 389"/>
                <a:gd name="T25" fmla="*/ 0 h 238"/>
                <a:gd name="T26" fmla="*/ 234 w 389"/>
                <a:gd name="T27" fmla="*/ 51 h 238"/>
                <a:gd name="T28" fmla="*/ 359 w 389"/>
                <a:gd name="T29" fmla="*/ 0 h 238"/>
                <a:gd name="T30" fmla="*/ 359 w 389"/>
                <a:gd name="T31" fmla="*/ 43 h 238"/>
                <a:gd name="T32" fmla="*/ 359 w 389"/>
                <a:gd name="T33" fmla="*/ 45 h 238"/>
                <a:gd name="T34" fmla="*/ 376 w 389"/>
                <a:gd name="T35" fmla="*/ 58 h 238"/>
                <a:gd name="T36" fmla="*/ 363 w 389"/>
                <a:gd name="T37" fmla="*/ 68 h 238"/>
                <a:gd name="T38" fmla="*/ 387 w 389"/>
                <a:gd name="T39" fmla="*/ 111 h 238"/>
                <a:gd name="T40" fmla="*/ 372 w 389"/>
                <a:gd name="T41" fmla="*/ 140 h 238"/>
                <a:gd name="T42" fmla="*/ 389 w 389"/>
                <a:gd name="T43" fmla="*/ 155 h 238"/>
                <a:gd name="T44" fmla="*/ 378 w 389"/>
                <a:gd name="T45" fmla="*/ 181 h 238"/>
                <a:gd name="T46" fmla="*/ 310 w 389"/>
                <a:gd name="T47" fmla="*/ 177 h 238"/>
                <a:gd name="T48" fmla="*/ 249 w 389"/>
                <a:gd name="T49" fmla="*/ 223 h 238"/>
                <a:gd name="T50" fmla="*/ 200 w 389"/>
                <a:gd name="T51" fmla="*/ 204 h 238"/>
                <a:gd name="T52" fmla="*/ 196 w 389"/>
                <a:gd name="T53" fmla="*/ 217 h 238"/>
                <a:gd name="T54" fmla="*/ 176 w 389"/>
                <a:gd name="T55" fmla="*/ 198 h 238"/>
                <a:gd name="T56" fmla="*/ 142 w 389"/>
                <a:gd name="T57" fmla="*/ 213 h 238"/>
                <a:gd name="T58" fmla="*/ 113 w 389"/>
                <a:gd name="T59" fmla="*/ 204 h 238"/>
                <a:gd name="T60" fmla="*/ 76 w 389"/>
                <a:gd name="T61" fmla="*/ 238 h 238"/>
                <a:gd name="T62" fmla="*/ 23 w 389"/>
                <a:gd name="T63" fmla="*/ 228 h 238"/>
                <a:gd name="T64" fmla="*/ 0 w 389"/>
                <a:gd name="T65" fmla="*/ 204 h 238"/>
                <a:gd name="T66" fmla="*/ 0 w 389"/>
                <a:gd name="T67" fmla="*/ 204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9" h="238">
                  <a:moveTo>
                    <a:pt x="0" y="204"/>
                  </a:moveTo>
                  <a:lnTo>
                    <a:pt x="34" y="181"/>
                  </a:lnTo>
                  <a:lnTo>
                    <a:pt x="28" y="160"/>
                  </a:lnTo>
                  <a:lnTo>
                    <a:pt x="53" y="160"/>
                  </a:lnTo>
                  <a:lnTo>
                    <a:pt x="72" y="136"/>
                  </a:lnTo>
                  <a:lnTo>
                    <a:pt x="70" y="98"/>
                  </a:lnTo>
                  <a:lnTo>
                    <a:pt x="55" y="87"/>
                  </a:lnTo>
                  <a:lnTo>
                    <a:pt x="70" y="72"/>
                  </a:lnTo>
                  <a:lnTo>
                    <a:pt x="40" y="70"/>
                  </a:lnTo>
                  <a:lnTo>
                    <a:pt x="15" y="43"/>
                  </a:lnTo>
                  <a:lnTo>
                    <a:pt x="19" y="21"/>
                  </a:lnTo>
                  <a:lnTo>
                    <a:pt x="30" y="2"/>
                  </a:lnTo>
                  <a:lnTo>
                    <a:pt x="53" y="0"/>
                  </a:lnTo>
                  <a:lnTo>
                    <a:pt x="234" y="51"/>
                  </a:lnTo>
                  <a:lnTo>
                    <a:pt x="359" y="0"/>
                  </a:lnTo>
                  <a:lnTo>
                    <a:pt x="359" y="43"/>
                  </a:lnTo>
                  <a:lnTo>
                    <a:pt x="359" y="45"/>
                  </a:lnTo>
                  <a:lnTo>
                    <a:pt x="376" y="58"/>
                  </a:lnTo>
                  <a:lnTo>
                    <a:pt x="363" y="68"/>
                  </a:lnTo>
                  <a:lnTo>
                    <a:pt x="387" y="111"/>
                  </a:lnTo>
                  <a:lnTo>
                    <a:pt x="372" y="140"/>
                  </a:lnTo>
                  <a:lnTo>
                    <a:pt x="389" y="155"/>
                  </a:lnTo>
                  <a:lnTo>
                    <a:pt x="378" y="181"/>
                  </a:lnTo>
                  <a:lnTo>
                    <a:pt x="310" y="177"/>
                  </a:lnTo>
                  <a:lnTo>
                    <a:pt x="249" y="223"/>
                  </a:lnTo>
                  <a:lnTo>
                    <a:pt x="200" y="204"/>
                  </a:lnTo>
                  <a:lnTo>
                    <a:pt x="196" y="217"/>
                  </a:lnTo>
                  <a:lnTo>
                    <a:pt x="176" y="198"/>
                  </a:lnTo>
                  <a:lnTo>
                    <a:pt x="142" y="213"/>
                  </a:lnTo>
                  <a:lnTo>
                    <a:pt x="113" y="204"/>
                  </a:lnTo>
                  <a:lnTo>
                    <a:pt x="76" y="238"/>
                  </a:lnTo>
                  <a:lnTo>
                    <a:pt x="23" y="228"/>
                  </a:lnTo>
                  <a:lnTo>
                    <a:pt x="0" y="204"/>
                  </a:lnTo>
                  <a:lnTo>
                    <a:pt x="0" y="20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1FD3D3E4-5E93-4C0B-95B9-5B49CAD23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8088" y="5500044"/>
              <a:ext cx="405356" cy="661775"/>
            </a:xfrm>
            <a:custGeom>
              <a:avLst/>
              <a:gdLst>
                <a:gd name="T0" fmla="*/ 4 w 264"/>
                <a:gd name="T1" fmla="*/ 229 h 431"/>
                <a:gd name="T2" fmla="*/ 72 w 264"/>
                <a:gd name="T3" fmla="*/ 246 h 431"/>
                <a:gd name="T4" fmla="*/ 85 w 264"/>
                <a:gd name="T5" fmla="*/ 272 h 431"/>
                <a:gd name="T6" fmla="*/ 124 w 264"/>
                <a:gd name="T7" fmla="*/ 291 h 431"/>
                <a:gd name="T8" fmla="*/ 153 w 264"/>
                <a:gd name="T9" fmla="*/ 359 h 431"/>
                <a:gd name="T10" fmla="*/ 170 w 264"/>
                <a:gd name="T11" fmla="*/ 359 h 431"/>
                <a:gd name="T12" fmla="*/ 170 w 264"/>
                <a:gd name="T13" fmla="*/ 421 h 431"/>
                <a:gd name="T14" fmla="*/ 194 w 264"/>
                <a:gd name="T15" fmla="*/ 431 h 431"/>
                <a:gd name="T16" fmla="*/ 217 w 264"/>
                <a:gd name="T17" fmla="*/ 418 h 431"/>
                <a:gd name="T18" fmla="*/ 262 w 264"/>
                <a:gd name="T19" fmla="*/ 331 h 431"/>
                <a:gd name="T20" fmla="*/ 264 w 264"/>
                <a:gd name="T21" fmla="*/ 270 h 431"/>
                <a:gd name="T22" fmla="*/ 257 w 264"/>
                <a:gd name="T23" fmla="*/ 168 h 431"/>
                <a:gd name="T24" fmla="*/ 236 w 264"/>
                <a:gd name="T25" fmla="*/ 127 h 431"/>
                <a:gd name="T26" fmla="*/ 247 w 264"/>
                <a:gd name="T27" fmla="*/ 70 h 431"/>
                <a:gd name="T28" fmla="*/ 232 w 264"/>
                <a:gd name="T29" fmla="*/ 0 h 431"/>
                <a:gd name="T30" fmla="*/ 211 w 264"/>
                <a:gd name="T31" fmla="*/ 4 h 431"/>
                <a:gd name="T32" fmla="*/ 202 w 264"/>
                <a:gd name="T33" fmla="*/ 114 h 431"/>
                <a:gd name="T34" fmla="*/ 158 w 264"/>
                <a:gd name="T35" fmla="*/ 97 h 431"/>
                <a:gd name="T36" fmla="*/ 51 w 264"/>
                <a:gd name="T37" fmla="*/ 163 h 431"/>
                <a:gd name="T38" fmla="*/ 38 w 264"/>
                <a:gd name="T39" fmla="*/ 153 h 431"/>
                <a:gd name="T40" fmla="*/ 21 w 264"/>
                <a:gd name="T41" fmla="*/ 210 h 431"/>
                <a:gd name="T42" fmla="*/ 0 w 264"/>
                <a:gd name="T43" fmla="*/ 225 h 431"/>
                <a:gd name="T44" fmla="*/ 4 w 264"/>
                <a:gd name="T45" fmla="*/ 229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4" h="431">
                  <a:moveTo>
                    <a:pt x="4" y="229"/>
                  </a:moveTo>
                  <a:lnTo>
                    <a:pt x="72" y="246"/>
                  </a:lnTo>
                  <a:lnTo>
                    <a:pt x="85" y="272"/>
                  </a:lnTo>
                  <a:lnTo>
                    <a:pt x="124" y="291"/>
                  </a:lnTo>
                  <a:lnTo>
                    <a:pt x="153" y="359"/>
                  </a:lnTo>
                  <a:lnTo>
                    <a:pt x="170" y="359"/>
                  </a:lnTo>
                  <a:lnTo>
                    <a:pt x="170" y="421"/>
                  </a:lnTo>
                  <a:lnTo>
                    <a:pt x="194" y="431"/>
                  </a:lnTo>
                  <a:lnTo>
                    <a:pt x="217" y="418"/>
                  </a:lnTo>
                  <a:lnTo>
                    <a:pt x="262" y="331"/>
                  </a:lnTo>
                  <a:lnTo>
                    <a:pt x="264" y="270"/>
                  </a:lnTo>
                  <a:lnTo>
                    <a:pt x="257" y="168"/>
                  </a:lnTo>
                  <a:lnTo>
                    <a:pt x="236" y="127"/>
                  </a:lnTo>
                  <a:lnTo>
                    <a:pt x="247" y="70"/>
                  </a:lnTo>
                  <a:lnTo>
                    <a:pt x="232" y="0"/>
                  </a:lnTo>
                  <a:lnTo>
                    <a:pt x="211" y="4"/>
                  </a:lnTo>
                  <a:lnTo>
                    <a:pt x="202" y="114"/>
                  </a:lnTo>
                  <a:lnTo>
                    <a:pt x="158" y="97"/>
                  </a:lnTo>
                  <a:lnTo>
                    <a:pt x="51" y="163"/>
                  </a:lnTo>
                  <a:lnTo>
                    <a:pt x="38" y="153"/>
                  </a:lnTo>
                  <a:lnTo>
                    <a:pt x="21" y="210"/>
                  </a:lnTo>
                  <a:lnTo>
                    <a:pt x="0" y="225"/>
                  </a:lnTo>
                  <a:lnTo>
                    <a:pt x="4" y="229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59FEB715-111B-4D0E-A932-EAFD06D87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444" y="2642588"/>
              <a:ext cx="503624" cy="555830"/>
            </a:xfrm>
            <a:custGeom>
              <a:avLst/>
              <a:gdLst>
                <a:gd name="T0" fmla="*/ 111 w 328"/>
                <a:gd name="T1" fmla="*/ 224 h 362"/>
                <a:gd name="T2" fmla="*/ 119 w 328"/>
                <a:gd name="T3" fmla="*/ 204 h 362"/>
                <a:gd name="T4" fmla="*/ 79 w 328"/>
                <a:gd name="T5" fmla="*/ 170 h 362"/>
                <a:gd name="T6" fmla="*/ 51 w 328"/>
                <a:gd name="T7" fmla="*/ 192 h 362"/>
                <a:gd name="T8" fmla="*/ 55 w 328"/>
                <a:gd name="T9" fmla="*/ 160 h 362"/>
                <a:gd name="T10" fmla="*/ 36 w 328"/>
                <a:gd name="T11" fmla="*/ 158 h 362"/>
                <a:gd name="T12" fmla="*/ 58 w 328"/>
                <a:gd name="T13" fmla="*/ 130 h 362"/>
                <a:gd name="T14" fmla="*/ 68 w 328"/>
                <a:gd name="T15" fmla="*/ 151 h 362"/>
                <a:gd name="T16" fmla="*/ 117 w 328"/>
                <a:gd name="T17" fmla="*/ 149 h 362"/>
                <a:gd name="T18" fmla="*/ 109 w 328"/>
                <a:gd name="T19" fmla="*/ 134 h 362"/>
                <a:gd name="T20" fmla="*/ 81 w 328"/>
                <a:gd name="T21" fmla="*/ 136 h 362"/>
                <a:gd name="T22" fmla="*/ 92 w 328"/>
                <a:gd name="T23" fmla="*/ 113 h 362"/>
                <a:gd name="T24" fmla="*/ 4 w 328"/>
                <a:gd name="T25" fmla="*/ 128 h 362"/>
                <a:gd name="T26" fmla="*/ 24 w 328"/>
                <a:gd name="T27" fmla="*/ 45 h 362"/>
                <a:gd name="T28" fmla="*/ 72 w 328"/>
                <a:gd name="T29" fmla="*/ 22 h 362"/>
                <a:gd name="T30" fmla="*/ 126 w 328"/>
                <a:gd name="T31" fmla="*/ 13 h 362"/>
                <a:gd name="T32" fmla="*/ 130 w 328"/>
                <a:gd name="T33" fmla="*/ 26 h 362"/>
                <a:gd name="T34" fmla="*/ 204 w 328"/>
                <a:gd name="T35" fmla="*/ 0 h 362"/>
                <a:gd name="T36" fmla="*/ 236 w 328"/>
                <a:gd name="T37" fmla="*/ 39 h 362"/>
                <a:gd name="T38" fmla="*/ 249 w 328"/>
                <a:gd name="T39" fmla="*/ 11 h 362"/>
                <a:gd name="T40" fmla="*/ 291 w 328"/>
                <a:gd name="T41" fmla="*/ 26 h 362"/>
                <a:gd name="T42" fmla="*/ 283 w 328"/>
                <a:gd name="T43" fmla="*/ 36 h 362"/>
                <a:gd name="T44" fmla="*/ 285 w 328"/>
                <a:gd name="T45" fmla="*/ 39 h 362"/>
                <a:gd name="T46" fmla="*/ 308 w 328"/>
                <a:gd name="T47" fmla="*/ 81 h 362"/>
                <a:gd name="T48" fmla="*/ 294 w 328"/>
                <a:gd name="T49" fmla="*/ 102 h 362"/>
                <a:gd name="T50" fmla="*/ 304 w 328"/>
                <a:gd name="T51" fmla="*/ 113 h 362"/>
                <a:gd name="T52" fmla="*/ 289 w 328"/>
                <a:gd name="T53" fmla="*/ 134 h 362"/>
                <a:gd name="T54" fmla="*/ 308 w 328"/>
                <a:gd name="T55" fmla="*/ 162 h 362"/>
                <a:gd name="T56" fmla="*/ 291 w 328"/>
                <a:gd name="T57" fmla="*/ 207 h 362"/>
                <a:gd name="T58" fmla="*/ 251 w 328"/>
                <a:gd name="T59" fmla="*/ 226 h 362"/>
                <a:gd name="T60" fmla="*/ 249 w 328"/>
                <a:gd name="T61" fmla="*/ 236 h 362"/>
                <a:gd name="T62" fmla="*/ 268 w 328"/>
                <a:gd name="T63" fmla="*/ 277 h 362"/>
                <a:gd name="T64" fmla="*/ 328 w 328"/>
                <a:gd name="T65" fmla="*/ 296 h 362"/>
                <a:gd name="T66" fmla="*/ 321 w 328"/>
                <a:gd name="T67" fmla="*/ 328 h 362"/>
                <a:gd name="T68" fmla="*/ 291 w 328"/>
                <a:gd name="T69" fmla="*/ 334 h 362"/>
                <a:gd name="T70" fmla="*/ 285 w 328"/>
                <a:gd name="T71" fmla="*/ 362 h 362"/>
                <a:gd name="T72" fmla="*/ 208 w 328"/>
                <a:gd name="T73" fmla="*/ 345 h 362"/>
                <a:gd name="T74" fmla="*/ 185 w 328"/>
                <a:gd name="T75" fmla="*/ 302 h 362"/>
                <a:gd name="T76" fmla="*/ 179 w 328"/>
                <a:gd name="T77" fmla="*/ 319 h 362"/>
                <a:gd name="T78" fmla="*/ 138 w 328"/>
                <a:gd name="T79" fmla="*/ 315 h 362"/>
                <a:gd name="T80" fmla="*/ 130 w 328"/>
                <a:gd name="T81" fmla="*/ 334 h 362"/>
                <a:gd name="T82" fmla="*/ 83 w 328"/>
                <a:gd name="T83" fmla="*/ 330 h 362"/>
                <a:gd name="T84" fmla="*/ 89 w 328"/>
                <a:gd name="T85" fmla="*/ 306 h 362"/>
                <a:gd name="T86" fmla="*/ 66 w 328"/>
                <a:gd name="T87" fmla="*/ 258 h 362"/>
                <a:gd name="T88" fmla="*/ 0 w 328"/>
                <a:gd name="T89" fmla="*/ 234 h 362"/>
                <a:gd name="T90" fmla="*/ 111 w 328"/>
                <a:gd name="T91" fmla="*/ 224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8" h="362">
                  <a:moveTo>
                    <a:pt x="111" y="224"/>
                  </a:moveTo>
                  <a:lnTo>
                    <a:pt x="119" y="204"/>
                  </a:lnTo>
                  <a:lnTo>
                    <a:pt x="79" y="170"/>
                  </a:lnTo>
                  <a:lnTo>
                    <a:pt x="51" y="192"/>
                  </a:lnTo>
                  <a:lnTo>
                    <a:pt x="55" y="160"/>
                  </a:lnTo>
                  <a:lnTo>
                    <a:pt x="36" y="158"/>
                  </a:lnTo>
                  <a:lnTo>
                    <a:pt x="58" y="130"/>
                  </a:lnTo>
                  <a:lnTo>
                    <a:pt x="68" y="151"/>
                  </a:lnTo>
                  <a:lnTo>
                    <a:pt x="117" y="149"/>
                  </a:lnTo>
                  <a:lnTo>
                    <a:pt x="109" y="134"/>
                  </a:lnTo>
                  <a:lnTo>
                    <a:pt x="81" y="136"/>
                  </a:lnTo>
                  <a:lnTo>
                    <a:pt x="92" y="113"/>
                  </a:lnTo>
                  <a:lnTo>
                    <a:pt x="4" y="128"/>
                  </a:lnTo>
                  <a:lnTo>
                    <a:pt x="24" y="45"/>
                  </a:lnTo>
                  <a:lnTo>
                    <a:pt x="72" y="22"/>
                  </a:lnTo>
                  <a:lnTo>
                    <a:pt x="126" y="13"/>
                  </a:lnTo>
                  <a:lnTo>
                    <a:pt x="130" y="26"/>
                  </a:lnTo>
                  <a:lnTo>
                    <a:pt x="204" y="0"/>
                  </a:lnTo>
                  <a:lnTo>
                    <a:pt x="236" y="39"/>
                  </a:lnTo>
                  <a:lnTo>
                    <a:pt x="249" y="11"/>
                  </a:lnTo>
                  <a:lnTo>
                    <a:pt x="291" y="26"/>
                  </a:lnTo>
                  <a:lnTo>
                    <a:pt x="283" y="36"/>
                  </a:lnTo>
                  <a:lnTo>
                    <a:pt x="285" y="39"/>
                  </a:lnTo>
                  <a:lnTo>
                    <a:pt x="308" y="81"/>
                  </a:lnTo>
                  <a:lnTo>
                    <a:pt x="294" y="102"/>
                  </a:lnTo>
                  <a:lnTo>
                    <a:pt x="304" y="113"/>
                  </a:lnTo>
                  <a:lnTo>
                    <a:pt x="289" y="134"/>
                  </a:lnTo>
                  <a:lnTo>
                    <a:pt x="308" y="162"/>
                  </a:lnTo>
                  <a:lnTo>
                    <a:pt x="291" y="207"/>
                  </a:lnTo>
                  <a:lnTo>
                    <a:pt x="251" y="226"/>
                  </a:lnTo>
                  <a:lnTo>
                    <a:pt x="249" y="236"/>
                  </a:lnTo>
                  <a:lnTo>
                    <a:pt x="268" y="277"/>
                  </a:lnTo>
                  <a:lnTo>
                    <a:pt x="328" y="296"/>
                  </a:lnTo>
                  <a:lnTo>
                    <a:pt x="321" y="328"/>
                  </a:lnTo>
                  <a:lnTo>
                    <a:pt x="291" y="334"/>
                  </a:lnTo>
                  <a:lnTo>
                    <a:pt x="285" y="362"/>
                  </a:lnTo>
                  <a:lnTo>
                    <a:pt x="208" y="345"/>
                  </a:lnTo>
                  <a:lnTo>
                    <a:pt x="185" y="302"/>
                  </a:lnTo>
                  <a:lnTo>
                    <a:pt x="179" y="319"/>
                  </a:lnTo>
                  <a:lnTo>
                    <a:pt x="138" y="315"/>
                  </a:lnTo>
                  <a:lnTo>
                    <a:pt x="130" y="334"/>
                  </a:lnTo>
                  <a:lnTo>
                    <a:pt x="83" y="330"/>
                  </a:lnTo>
                  <a:lnTo>
                    <a:pt x="89" y="306"/>
                  </a:lnTo>
                  <a:lnTo>
                    <a:pt x="66" y="258"/>
                  </a:lnTo>
                  <a:lnTo>
                    <a:pt x="0" y="234"/>
                  </a:lnTo>
                  <a:lnTo>
                    <a:pt x="111" y="224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6" name="Freeform 29">
              <a:extLst>
                <a:ext uri="{FF2B5EF4-FFF2-40B4-BE49-F238E27FC236}">
                  <a16:creationId xmlns:a16="http://schemas.microsoft.com/office/drawing/2014/main" id="{28746F71-A156-43D1-8A85-E972DE730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9303" y="4363817"/>
              <a:ext cx="649492" cy="655634"/>
            </a:xfrm>
            <a:custGeom>
              <a:avLst/>
              <a:gdLst>
                <a:gd name="T0" fmla="*/ 0 w 423"/>
                <a:gd name="T1" fmla="*/ 176 h 427"/>
                <a:gd name="T2" fmla="*/ 3 w 423"/>
                <a:gd name="T3" fmla="*/ 193 h 427"/>
                <a:gd name="T4" fmla="*/ 15 w 423"/>
                <a:gd name="T5" fmla="*/ 217 h 427"/>
                <a:gd name="T6" fmla="*/ 68 w 423"/>
                <a:gd name="T7" fmla="*/ 200 h 427"/>
                <a:gd name="T8" fmla="*/ 85 w 423"/>
                <a:gd name="T9" fmla="*/ 221 h 427"/>
                <a:gd name="T10" fmla="*/ 100 w 423"/>
                <a:gd name="T11" fmla="*/ 217 h 427"/>
                <a:gd name="T12" fmla="*/ 98 w 423"/>
                <a:gd name="T13" fmla="*/ 234 h 427"/>
                <a:gd name="T14" fmla="*/ 117 w 423"/>
                <a:gd name="T15" fmla="*/ 244 h 427"/>
                <a:gd name="T16" fmla="*/ 102 w 423"/>
                <a:gd name="T17" fmla="*/ 297 h 427"/>
                <a:gd name="T18" fmla="*/ 168 w 423"/>
                <a:gd name="T19" fmla="*/ 310 h 427"/>
                <a:gd name="T20" fmla="*/ 194 w 423"/>
                <a:gd name="T21" fmla="*/ 293 h 427"/>
                <a:gd name="T22" fmla="*/ 190 w 423"/>
                <a:gd name="T23" fmla="*/ 395 h 427"/>
                <a:gd name="T24" fmla="*/ 281 w 423"/>
                <a:gd name="T25" fmla="*/ 427 h 427"/>
                <a:gd name="T26" fmla="*/ 334 w 423"/>
                <a:gd name="T27" fmla="*/ 378 h 427"/>
                <a:gd name="T28" fmla="*/ 423 w 423"/>
                <a:gd name="T29" fmla="*/ 365 h 427"/>
                <a:gd name="T30" fmla="*/ 411 w 423"/>
                <a:gd name="T31" fmla="*/ 312 h 427"/>
                <a:gd name="T32" fmla="*/ 381 w 423"/>
                <a:gd name="T33" fmla="*/ 310 h 427"/>
                <a:gd name="T34" fmla="*/ 394 w 423"/>
                <a:gd name="T35" fmla="*/ 268 h 427"/>
                <a:gd name="T36" fmla="*/ 364 w 423"/>
                <a:gd name="T37" fmla="*/ 259 h 427"/>
                <a:gd name="T38" fmla="*/ 358 w 423"/>
                <a:gd name="T39" fmla="*/ 212 h 427"/>
                <a:gd name="T40" fmla="*/ 372 w 423"/>
                <a:gd name="T41" fmla="*/ 187 h 427"/>
                <a:gd name="T42" fmla="*/ 353 w 423"/>
                <a:gd name="T43" fmla="*/ 157 h 427"/>
                <a:gd name="T44" fmla="*/ 313 w 423"/>
                <a:gd name="T45" fmla="*/ 140 h 427"/>
                <a:gd name="T46" fmla="*/ 296 w 423"/>
                <a:gd name="T47" fmla="*/ 176 h 427"/>
                <a:gd name="T48" fmla="*/ 255 w 423"/>
                <a:gd name="T49" fmla="*/ 161 h 427"/>
                <a:gd name="T50" fmla="*/ 224 w 423"/>
                <a:gd name="T51" fmla="*/ 100 h 427"/>
                <a:gd name="T52" fmla="*/ 224 w 423"/>
                <a:gd name="T53" fmla="*/ 95 h 427"/>
                <a:gd name="T54" fmla="*/ 153 w 423"/>
                <a:gd name="T55" fmla="*/ 0 h 427"/>
                <a:gd name="T56" fmla="*/ 124 w 423"/>
                <a:gd name="T57" fmla="*/ 40 h 427"/>
                <a:gd name="T58" fmla="*/ 88 w 423"/>
                <a:gd name="T59" fmla="*/ 27 h 427"/>
                <a:gd name="T60" fmla="*/ 77 w 423"/>
                <a:gd name="T61" fmla="*/ 40 h 427"/>
                <a:gd name="T62" fmla="*/ 105 w 423"/>
                <a:gd name="T63" fmla="*/ 64 h 427"/>
                <a:gd name="T64" fmla="*/ 73 w 423"/>
                <a:gd name="T65" fmla="*/ 100 h 427"/>
                <a:gd name="T66" fmla="*/ 9 w 423"/>
                <a:gd name="T67" fmla="*/ 112 h 427"/>
                <a:gd name="T68" fmla="*/ 32 w 423"/>
                <a:gd name="T69" fmla="*/ 132 h 427"/>
                <a:gd name="T70" fmla="*/ 3 w 423"/>
                <a:gd name="T71" fmla="*/ 157 h 427"/>
                <a:gd name="T72" fmla="*/ 0 w 423"/>
                <a:gd name="T73" fmla="*/ 172 h 427"/>
                <a:gd name="T74" fmla="*/ 0 w 423"/>
                <a:gd name="T75" fmla="*/ 176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3" h="427">
                  <a:moveTo>
                    <a:pt x="0" y="176"/>
                  </a:moveTo>
                  <a:lnTo>
                    <a:pt x="3" y="193"/>
                  </a:lnTo>
                  <a:lnTo>
                    <a:pt x="15" y="217"/>
                  </a:lnTo>
                  <a:lnTo>
                    <a:pt x="68" y="200"/>
                  </a:lnTo>
                  <a:lnTo>
                    <a:pt x="85" y="221"/>
                  </a:lnTo>
                  <a:lnTo>
                    <a:pt x="100" y="217"/>
                  </a:lnTo>
                  <a:lnTo>
                    <a:pt x="98" y="234"/>
                  </a:lnTo>
                  <a:lnTo>
                    <a:pt x="117" y="244"/>
                  </a:lnTo>
                  <a:lnTo>
                    <a:pt x="102" y="297"/>
                  </a:lnTo>
                  <a:lnTo>
                    <a:pt x="168" y="310"/>
                  </a:lnTo>
                  <a:lnTo>
                    <a:pt x="194" y="293"/>
                  </a:lnTo>
                  <a:lnTo>
                    <a:pt x="190" y="395"/>
                  </a:lnTo>
                  <a:lnTo>
                    <a:pt x="281" y="427"/>
                  </a:lnTo>
                  <a:lnTo>
                    <a:pt x="334" y="378"/>
                  </a:lnTo>
                  <a:lnTo>
                    <a:pt x="423" y="365"/>
                  </a:lnTo>
                  <a:lnTo>
                    <a:pt x="411" y="312"/>
                  </a:lnTo>
                  <a:lnTo>
                    <a:pt x="381" y="310"/>
                  </a:lnTo>
                  <a:lnTo>
                    <a:pt x="394" y="268"/>
                  </a:lnTo>
                  <a:lnTo>
                    <a:pt x="364" y="259"/>
                  </a:lnTo>
                  <a:lnTo>
                    <a:pt x="358" y="212"/>
                  </a:lnTo>
                  <a:lnTo>
                    <a:pt x="372" y="187"/>
                  </a:lnTo>
                  <a:lnTo>
                    <a:pt x="353" y="157"/>
                  </a:lnTo>
                  <a:lnTo>
                    <a:pt x="313" y="140"/>
                  </a:lnTo>
                  <a:lnTo>
                    <a:pt x="296" y="176"/>
                  </a:lnTo>
                  <a:lnTo>
                    <a:pt x="255" y="161"/>
                  </a:lnTo>
                  <a:lnTo>
                    <a:pt x="224" y="100"/>
                  </a:lnTo>
                  <a:lnTo>
                    <a:pt x="224" y="95"/>
                  </a:lnTo>
                  <a:lnTo>
                    <a:pt x="153" y="0"/>
                  </a:lnTo>
                  <a:lnTo>
                    <a:pt x="124" y="40"/>
                  </a:lnTo>
                  <a:lnTo>
                    <a:pt x="88" y="27"/>
                  </a:lnTo>
                  <a:lnTo>
                    <a:pt x="77" y="40"/>
                  </a:lnTo>
                  <a:lnTo>
                    <a:pt x="105" y="64"/>
                  </a:lnTo>
                  <a:lnTo>
                    <a:pt x="73" y="100"/>
                  </a:lnTo>
                  <a:lnTo>
                    <a:pt x="9" y="112"/>
                  </a:lnTo>
                  <a:lnTo>
                    <a:pt x="32" y="132"/>
                  </a:lnTo>
                  <a:lnTo>
                    <a:pt x="3" y="157"/>
                  </a:lnTo>
                  <a:lnTo>
                    <a:pt x="0" y="172"/>
                  </a:lnTo>
                  <a:lnTo>
                    <a:pt x="0" y="17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7" name="Freeform 30">
              <a:extLst>
                <a:ext uri="{FF2B5EF4-FFF2-40B4-BE49-F238E27FC236}">
                  <a16:creationId xmlns:a16="http://schemas.microsoft.com/office/drawing/2014/main" id="{CBC7031F-1738-4EDC-8E74-A0227EFFA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0910" y="3094007"/>
              <a:ext cx="626460" cy="534333"/>
            </a:xfrm>
            <a:custGeom>
              <a:avLst/>
              <a:gdLst>
                <a:gd name="T0" fmla="*/ 4 w 408"/>
                <a:gd name="T1" fmla="*/ 159 h 348"/>
                <a:gd name="T2" fmla="*/ 8 w 408"/>
                <a:gd name="T3" fmla="*/ 157 h 348"/>
                <a:gd name="T4" fmla="*/ 68 w 408"/>
                <a:gd name="T5" fmla="*/ 163 h 348"/>
                <a:gd name="T6" fmla="*/ 68 w 408"/>
                <a:gd name="T7" fmla="*/ 193 h 348"/>
                <a:gd name="T8" fmla="*/ 83 w 408"/>
                <a:gd name="T9" fmla="*/ 183 h 348"/>
                <a:gd name="T10" fmla="*/ 110 w 408"/>
                <a:gd name="T11" fmla="*/ 193 h 348"/>
                <a:gd name="T12" fmla="*/ 134 w 408"/>
                <a:gd name="T13" fmla="*/ 253 h 348"/>
                <a:gd name="T14" fmla="*/ 125 w 408"/>
                <a:gd name="T15" fmla="*/ 306 h 348"/>
                <a:gd name="T16" fmla="*/ 159 w 408"/>
                <a:gd name="T17" fmla="*/ 310 h 348"/>
                <a:gd name="T18" fmla="*/ 181 w 408"/>
                <a:gd name="T19" fmla="*/ 348 h 348"/>
                <a:gd name="T20" fmla="*/ 246 w 408"/>
                <a:gd name="T21" fmla="*/ 317 h 348"/>
                <a:gd name="T22" fmla="*/ 306 w 408"/>
                <a:gd name="T23" fmla="*/ 340 h 348"/>
                <a:gd name="T24" fmla="*/ 323 w 408"/>
                <a:gd name="T25" fmla="*/ 338 h 348"/>
                <a:gd name="T26" fmla="*/ 331 w 408"/>
                <a:gd name="T27" fmla="*/ 314 h 348"/>
                <a:gd name="T28" fmla="*/ 385 w 408"/>
                <a:gd name="T29" fmla="*/ 312 h 348"/>
                <a:gd name="T30" fmla="*/ 376 w 408"/>
                <a:gd name="T31" fmla="*/ 268 h 348"/>
                <a:gd name="T32" fmla="*/ 404 w 408"/>
                <a:gd name="T33" fmla="*/ 274 h 348"/>
                <a:gd name="T34" fmla="*/ 408 w 408"/>
                <a:gd name="T35" fmla="*/ 242 h 348"/>
                <a:gd name="T36" fmla="*/ 378 w 408"/>
                <a:gd name="T37" fmla="*/ 208 h 348"/>
                <a:gd name="T38" fmla="*/ 408 w 408"/>
                <a:gd name="T39" fmla="*/ 193 h 348"/>
                <a:gd name="T40" fmla="*/ 399 w 408"/>
                <a:gd name="T41" fmla="*/ 174 h 348"/>
                <a:gd name="T42" fmla="*/ 368 w 408"/>
                <a:gd name="T43" fmla="*/ 172 h 348"/>
                <a:gd name="T44" fmla="*/ 312 w 408"/>
                <a:gd name="T45" fmla="*/ 168 h 348"/>
                <a:gd name="T46" fmla="*/ 297 w 408"/>
                <a:gd name="T47" fmla="*/ 187 h 348"/>
                <a:gd name="T48" fmla="*/ 278 w 408"/>
                <a:gd name="T49" fmla="*/ 151 h 348"/>
                <a:gd name="T50" fmla="*/ 259 w 408"/>
                <a:gd name="T51" fmla="*/ 140 h 348"/>
                <a:gd name="T52" fmla="*/ 246 w 408"/>
                <a:gd name="T53" fmla="*/ 153 h 348"/>
                <a:gd name="T54" fmla="*/ 236 w 408"/>
                <a:gd name="T55" fmla="*/ 115 h 348"/>
                <a:gd name="T56" fmla="*/ 251 w 408"/>
                <a:gd name="T57" fmla="*/ 95 h 348"/>
                <a:gd name="T58" fmla="*/ 234 w 408"/>
                <a:gd name="T59" fmla="*/ 57 h 348"/>
                <a:gd name="T60" fmla="*/ 212 w 408"/>
                <a:gd name="T61" fmla="*/ 49 h 348"/>
                <a:gd name="T62" fmla="*/ 195 w 408"/>
                <a:gd name="T63" fmla="*/ 68 h 348"/>
                <a:gd name="T64" fmla="*/ 155 w 408"/>
                <a:gd name="T65" fmla="*/ 61 h 348"/>
                <a:gd name="T66" fmla="*/ 134 w 408"/>
                <a:gd name="T67" fmla="*/ 21 h 348"/>
                <a:gd name="T68" fmla="*/ 108 w 408"/>
                <a:gd name="T69" fmla="*/ 17 h 348"/>
                <a:gd name="T70" fmla="*/ 115 w 408"/>
                <a:gd name="T71" fmla="*/ 0 h 348"/>
                <a:gd name="T72" fmla="*/ 70 w 408"/>
                <a:gd name="T73" fmla="*/ 8 h 348"/>
                <a:gd name="T74" fmla="*/ 55 w 408"/>
                <a:gd name="T75" fmla="*/ 23 h 348"/>
                <a:gd name="T76" fmla="*/ 61 w 408"/>
                <a:gd name="T77" fmla="*/ 85 h 348"/>
                <a:gd name="T78" fmla="*/ 44 w 408"/>
                <a:gd name="T79" fmla="*/ 85 h 348"/>
                <a:gd name="T80" fmla="*/ 47 w 408"/>
                <a:gd name="T81" fmla="*/ 108 h 348"/>
                <a:gd name="T82" fmla="*/ 0 w 408"/>
                <a:gd name="T83" fmla="*/ 151 h 348"/>
                <a:gd name="T84" fmla="*/ 4 w 408"/>
                <a:gd name="T85" fmla="*/ 159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8" h="348">
                  <a:moveTo>
                    <a:pt x="4" y="159"/>
                  </a:moveTo>
                  <a:lnTo>
                    <a:pt x="8" y="157"/>
                  </a:lnTo>
                  <a:lnTo>
                    <a:pt x="68" y="163"/>
                  </a:lnTo>
                  <a:lnTo>
                    <a:pt x="68" y="193"/>
                  </a:lnTo>
                  <a:lnTo>
                    <a:pt x="83" y="183"/>
                  </a:lnTo>
                  <a:lnTo>
                    <a:pt x="110" y="193"/>
                  </a:lnTo>
                  <a:lnTo>
                    <a:pt x="134" y="253"/>
                  </a:lnTo>
                  <a:lnTo>
                    <a:pt x="125" y="306"/>
                  </a:lnTo>
                  <a:lnTo>
                    <a:pt x="159" y="310"/>
                  </a:lnTo>
                  <a:lnTo>
                    <a:pt x="181" y="348"/>
                  </a:lnTo>
                  <a:lnTo>
                    <a:pt x="246" y="317"/>
                  </a:lnTo>
                  <a:lnTo>
                    <a:pt x="306" y="340"/>
                  </a:lnTo>
                  <a:lnTo>
                    <a:pt x="323" y="338"/>
                  </a:lnTo>
                  <a:lnTo>
                    <a:pt x="331" y="314"/>
                  </a:lnTo>
                  <a:lnTo>
                    <a:pt x="385" y="312"/>
                  </a:lnTo>
                  <a:lnTo>
                    <a:pt x="376" y="268"/>
                  </a:lnTo>
                  <a:lnTo>
                    <a:pt x="404" y="274"/>
                  </a:lnTo>
                  <a:lnTo>
                    <a:pt x="408" y="242"/>
                  </a:lnTo>
                  <a:lnTo>
                    <a:pt x="378" y="208"/>
                  </a:lnTo>
                  <a:lnTo>
                    <a:pt x="408" y="193"/>
                  </a:lnTo>
                  <a:lnTo>
                    <a:pt x="399" y="174"/>
                  </a:lnTo>
                  <a:lnTo>
                    <a:pt x="368" y="172"/>
                  </a:lnTo>
                  <a:lnTo>
                    <a:pt x="312" y="168"/>
                  </a:lnTo>
                  <a:lnTo>
                    <a:pt x="297" y="187"/>
                  </a:lnTo>
                  <a:lnTo>
                    <a:pt x="278" y="151"/>
                  </a:lnTo>
                  <a:lnTo>
                    <a:pt x="259" y="140"/>
                  </a:lnTo>
                  <a:lnTo>
                    <a:pt x="246" y="153"/>
                  </a:lnTo>
                  <a:lnTo>
                    <a:pt x="236" y="115"/>
                  </a:lnTo>
                  <a:lnTo>
                    <a:pt x="251" y="95"/>
                  </a:lnTo>
                  <a:lnTo>
                    <a:pt x="234" y="57"/>
                  </a:lnTo>
                  <a:lnTo>
                    <a:pt x="212" y="49"/>
                  </a:lnTo>
                  <a:lnTo>
                    <a:pt x="195" y="68"/>
                  </a:lnTo>
                  <a:lnTo>
                    <a:pt x="155" y="61"/>
                  </a:lnTo>
                  <a:lnTo>
                    <a:pt x="134" y="21"/>
                  </a:lnTo>
                  <a:lnTo>
                    <a:pt x="108" y="17"/>
                  </a:lnTo>
                  <a:lnTo>
                    <a:pt x="115" y="0"/>
                  </a:lnTo>
                  <a:lnTo>
                    <a:pt x="70" y="8"/>
                  </a:lnTo>
                  <a:lnTo>
                    <a:pt x="55" y="23"/>
                  </a:lnTo>
                  <a:lnTo>
                    <a:pt x="61" y="85"/>
                  </a:lnTo>
                  <a:lnTo>
                    <a:pt x="44" y="85"/>
                  </a:lnTo>
                  <a:lnTo>
                    <a:pt x="47" y="108"/>
                  </a:lnTo>
                  <a:lnTo>
                    <a:pt x="0" y="151"/>
                  </a:lnTo>
                  <a:lnTo>
                    <a:pt x="4" y="1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8" name="Freeform 31">
              <a:extLst>
                <a:ext uri="{FF2B5EF4-FFF2-40B4-BE49-F238E27FC236}">
                  <a16:creationId xmlns:a16="http://schemas.microsoft.com/office/drawing/2014/main" id="{C4385C04-AB26-41E1-BFB8-49D782A90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600" y="4630984"/>
              <a:ext cx="558900" cy="382325"/>
            </a:xfrm>
            <a:custGeom>
              <a:avLst/>
              <a:gdLst>
                <a:gd name="T0" fmla="*/ 0 w 364"/>
                <a:gd name="T1" fmla="*/ 45 h 249"/>
                <a:gd name="T2" fmla="*/ 6 w 364"/>
                <a:gd name="T3" fmla="*/ 26 h 249"/>
                <a:gd name="T4" fmla="*/ 70 w 364"/>
                <a:gd name="T5" fmla="*/ 0 h 249"/>
                <a:gd name="T6" fmla="*/ 106 w 364"/>
                <a:gd name="T7" fmla="*/ 0 h 249"/>
                <a:gd name="T8" fmla="*/ 140 w 364"/>
                <a:gd name="T9" fmla="*/ 30 h 249"/>
                <a:gd name="T10" fmla="*/ 155 w 364"/>
                <a:gd name="T11" fmla="*/ 15 h 249"/>
                <a:gd name="T12" fmla="*/ 210 w 364"/>
                <a:gd name="T13" fmla="*/ 26 h 249"/>
                <a:gd name="T14" fmla="*/ 255 w 364"/>
                <a:gd name="T15" fmla="*/ 30 h 249"/>
                <a:gd name="T16" fmla="*/ 281 w 364"/>
                <a:gd name="T17" fmla="*/ 11 h 249"/>
                <a:gd name="T18" fmla="*/ 323 w 364"/>
                <a:gd name="T19" fmla="*/ 19 h 249"/>
                <a:gd name="T20" fmla="*/ 327 w 364"/>
                <a:gd name="T21" fmla="*/ 51 h 249"/>
                <a:gd name="T22" fmla="*/ 364 w 364"/>
                <a:gd name="T23" fmla="*/ 68 h 249"/>
                <a:gd name="T24" fmla="*/ 355 w 364"/>
                <a:gd name="T25" fmla="*/ 111 h 249"/>
                <a:gd name="T26" fmla="*/ 334 w 364"/>
                <a:gd name="T27" fmla="*/ 102 h 249"/>
                <a:gd name="T28" fmla="*/ 336 w 364"/>
                <a:gd name="T29" fmla="*/ 140 h 249"/>
                <a:gd name="T30" fmla="*/ 315 w 364"/>
                <a:gd name="T31" fmla="*/ 147 h 249"/>
                <a:gd name="T32" fmla="*/ 317 w 364"/>
                <a:gd name="T33" fmla="*/ 164 h 249"/>
                <a:gd name="T34" fmla="*/ 295 w 364"/>
                <a:gd name="T35" fmla="*/ 166 h 249"/>
                <a:gd name="T36" fmla="*/ 278 w 364"/>
                <a:gd name="T37" fmla="*/ 200 h 249"/>
                <a:gd name="T38" fmla="*/ 247 w 364"/>
                <a:gd name="T39" fmla="*/ 202 h 249"/>
                <a:gd name="T40" fmla="*/ 202 w 364"/>
                <a:gd name="T41" fmla="*/ 249 h 249"/>
                <a:gd name="T42" fmla="*/ 147 w 364"/>
                <a:gd name="T43" fmla="*/ 200 h 249"/>
                <a:gd name="T44" fmla="*/ 102 w 364"/>
                <a:gd name="T45" fmla="*/ 225 h 249"/>
                <a:gd name="T46" fmla="*/ 72 w 364"/>
                <a:gd name="T47" fmla="*/ 166 h 249"/>
                <a:gd name="T48" fmla="*/ 53 w 364"/>
                <a:gd name="T49" fmla="*/ 117 h 249"/>
                <a:gd name="T50" fmla="*/ 70 w 364"/>
                <a:gd name="T51" fmla="*/ 117 h 249"/>
                <a:gd name="T52" fmla="*/ 36 w 364"/>
                <a:gd name="T53" fmla="*/ 55 h 249"/>
                <a:gd name="T54" fmla="*/ 0 w 364"/>
                <a:gd name="T55" fmla="*/ 49 h 249"/>
                <a:gd name="T56" fmla="*/ 0 w 364"/>
                <a:gd name="T57" fmla="*/ 4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64" h="249">
                  <a:moveTo>
                    <a:pt x="0" y="45"/>
                  </a:moveTo>
                  <a:lnTo>
                    <a:pt x="6" y="26"/>
                  </a:lnTo>
                  <a:lnTo>
                    <a:pt x="70" y="0"/>
                  </a:lnTo>
                  <a:lnTo>
                    <a:pt x="106" y="0"/>
                  </a:lnTo>
                  <a:lnTo>
                    <a:pt x="140" y="30"/>
                  </a:lnTo>
                  <a:lnTo>
                    <a:pt x="155" y="15"/>
                  </a:lnTo>
                  <a:lnTo>
                    <a:pt x="210" y="26"/>
                  </a:lnTo>
                  <a:lnTo>
                    <a:pt x="255" y="30"/>
                  </a:lnTo>
                  <a:lnTo>
                    <a:pt x="281" y="11"/>
                  </a:lnTo>
                  <a:lnTo>
                    <a:pt x="323" y="19"/>
                  </a:lnTo>
                  <a:lnTo>
                    <a:pt x="327" y="51"/>
                  </a:lnTo>
                  <a:lnTo>
                    <a:pt x="364" y="68"/>
                  </a:lnTo>
                  <a:lnTo>
                    <a:pt x="355" y="111"/>
                  </a:lnTo>
                  <a:lnTo>
                    <a:pt x="334" y="102"/>
                  </a:lnTo>
                  <a:lnTo>
                    <a:pt x="336" y="140"/>
                  </a:lnTo>
                  <a:lnTo>
                    <a:pt x="315" y="147"/>
                  </a:lnTo>
                  <a:lnTo>
                    <a:pt x="317" y="164"/>
                  </a:lnTo>
                  <a:lnTo>
                    <a:pt x="295" y="166"/>
                  </a:lnTo>
                  <a:lnTo>
                    <a:pt x="278" y="200"/>
                  </a:lnTo>
                  <a:lnTo>
                    <a:pt x="247" y="202"/>
                  </a:lnTo>
                  <a:lnTo>
                    <a:pt x="202" y="249"/>
                  </a:lnTo>
                  <a:lnTo>
                    <a:pt x="147" y="200"/>
                  </a:lnTo>
                  <a:lnTo>
                    <a:pt x="102" y="225"/>
                  </a:lnTo>
                  <a:lnTo>
                    <a:pt x="72" y="166"/>
                  </a:lnTo>
                  <a:lnTo>
                    <a:pt x="53" y="117"/>
                  </a:lnTo>
                  <a:lnTo>
                    <a:pt x="70" y="117"/>
                  </a:lnTo>
                  <a:lnTo>
                    <a:pt x="36" y="55"/>
                  </a:lnTo>
                  <a:lnTo>
                    <a:pt x="0" y="49"/>
                  </a:lnTo>
                  <a:lnTo>
                    <a:pt x="0" y="4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9" name="Freeform 32">
              <a:extLst>
                <a:ext uri="{FF2B5EF4-FFF2-40B4-BE49-F238E27FC236}">
                  <a16:creationId xmlns:a16="http://schemas.microsoft.com/office/drawing/2014/main" id="{ACCAF0F0-96C5-4525-9A2A-310FCA935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8041" y="2392312"/>
              <a:ext cx="600358" cy="502090"/>
            </a:xfrm>
            <a:custGeom>
              <a:avLst/>
              <a:gdLst>
                <a:gd name="T0" fmla="*/ 0 w 391"/>
                <a:gd name="T1" fmla="*/ 240 h 327"/>
                <a:gd name="T2" fmla="*/ 15 w 391"/>
                <a:gd name="T3" fmla="*/ 246 h 327"/>
                <a:gd name="T4" fmla="*/ 13 w 391"/>
                <a:gd name="T5" fmla="*/ 282 h 327"/>
                <a:gd name="T6" fmla="*/ 36 w 391"/>
                <a:gd name="T7" fmla="*/ 291 h 327"/>
                <a:gd name="T8" fmla="*/ 57 w 391"/>
                <a:gd name="T9" fmla="*/ 319 h 327"/>
                <a:gd name="T10" fmla="*/ 102 w 391"/>
                <a:gd name="T11" fmla="*/ 327 h 327"/>
                <a:gd name="T12" fmla="*/ 164 w 391"/>
                <a:gd name="T13" fmla="*/ 259 h 327"/>
                <a:gd name="T14" fmla="*/ 217 w 391"/>
                <a:gd name="T15" fmla="*/ 253 h 327"/>
                <a:gd name="T16" fmla="*/ 221 w 391"/>
                <a:gd name="T17" fmla="*/ 291 h 327"/>
                <a:gd name="T18" fmla="*/ 242 w 391"/>
                <a:gd name="T19" fmla="*/ 310 h 327"/>
                <a:gd name="T20" fmla="*/ 306 w 391"/>
                <a:gd name="T21" fmla="*/ 319 h 327"/>
                <a:gd name="T22" fmla="*/ 344 w 391"/>
                <a:gd name="T23" fmla="*/ 312 h 327"/>
                <a:gd name="T24" fmla="*/ 332 w 391"/>
                <a:gd name="T25" fmla="*/ 295 h 327"/>
                <a:gd name="T26" fmla="*/ 349 w 391"/>
                <a:gd name="T27" fmla="*/ 280 h 327"/>
                <a:gd name="T28" fmla="*/ 334 w 391"/>
                <a:gd name="T29" fmla="*/ 268 h 327"/>
                <a:gd name="T30" fmla="*/ 383 w 391"/>
                <a:gd name="T31" fmla="*/ 261 h 327"/>
                <a:gd name="T32" fmla="*/ 387 w 391"/>
                <a:gd name="T33" fmla="*/ 242 h 327"/>
                <a:gd name="T34" fmla="*/ 359 w 391"/>
                <a:gd name="T35" fmla="*/ 216 h 327"/>
                <a:gd name="T36" fmla="*/ 357 w 391"/>
                <a:gd name="T37" fmla="*/ 214 h 327"/>
                <a:gd name="T38" fmla="*/ 368 w 391"/>
                <a:gd name="T39" fmla="*/ 176 h 327"/>
                <a:gd name="T40" fmla="*/ 391 w 391"/>
                <a:gd name="T41" fmla="*/ 163 h 327"/>
                <a:gd name="T42" fmla="*/ 391 w 391"/>
                <a:gd name="T43" fmla="*/ 140 h 327"/>
                <a:gd name="T44" fmla="*/ 376 w 391"/>
                <a:gd name="T45" fmla="*/ 138 h 327"/>
                <a:gd name="T46" fmla="*/ 372 w 391"/>
                <a:gd name="T47" fmla="*/ 59 h 327"/>
                <a:gd name="T48" fmla="*/ 298 w 391"/>
                <a:gd name="T49" fmla="*/ 63 h 327"/>
                <a:gd name="T50" fmla="*/ 276 w 391"/>
                <a:gd name="T51" fmla="*/ 40 h 327"/>
                <a:gd name="T52" fmla="*/ 249 w 391"/>
                <a:gd name="T53" fmla="*/ 49 h 327"/>
                <a:gd name="T54" fmla="*/ 187 w 391"/>
                <a:gd name="T55" fmla="*/ 2 h 327"/>
                <a:gd name="T56" fmla="*/ 155 w 391"/>
                <a:gd name="T57" fmla="*/ 0 h 327"/>
                <a:gd name="T58" fmla="*/ 151 w 391"/>
                <a:gd name="T59" fmla="*/ 19 h 327"/>
                <a:gd name="T60" fmla="*/ 123 w 391"/>
                <a:gd name="T61" fmla="*/ 2 h 327"/>
                <a:gd name="T62" fmla="*/ 106 w 391"/>
                <a:gd name="T63" fmla="*/ 23 h 327"/>
                <a:gd name="T64" fmla="*/ 57 w 391"/>
                <a:gd name="T65" fmla="*/ 34 h 327"/>
                <a:gd name="T66" fmla="*/ 59 w 391"/>
                <a:gd name="T67" fmla="*/ 70 h 327"/>
                <a:gd name="T68" fmla="*/ 83 w 391"/>
                <a:gd name="T69" fmla="*/ 91 h 327"/>
                <a:gd name="T70" fmla="*/ 53 w 391"/>
                <a:gd name="T71" fmla="*/ 95 h 327"/>
                <a:gd name="T72" fmla="*/ 42 w 391"/>
                <a:gd name="T73" fmla="*/ 134 h 327"/>
                <a:gd name="T74" fmla="*/ 66 w 391"/>
                <a:gd name="T75" fmla="*/ 144 h 327"/>
                <a:gd name="T76" fmla="*/ 19 w 391"/>
                <a:gd name="T77" fmla="*/ 204 h 327"/>
                <a:gd name="T78" fmla="*/ 0 w 391"/>
                <a:gd name="T79" fmla="*/ 236 h 327"/>
                <a:gd name="T80" fmla="*/ 0 w 391"/>
                <a:gd name="T81" fmla="*/ 240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91" h="327">
                  <a:moveTo>
                    <a:pt x="0" y="240"/>
                  </a:moveTo>
                  <a:lnTo>
                    <a:pt x="15" y="246"/>
                  </a:lnTo>
                  <a:lnTo>
                    <a:pt x="13" y="282"/>
                  </a:lnTo>
                  <a:lnTo>
                    <a:pt x="36" y="291"/>
                  </a:lnTo>
                  <a:lnTo>
                    <a:pt x="57" y="319"/>
                  </a:lnTo>
                  <a:lnTo>
                    <a:pt x="102" y="327"/>
                  </a:lnTo>
                  <a:lnTo>
                    <a:pt x="164" y="259"/>
                  </a:lnTo>
                  <a:lnTo>
                    <a:pt x="217" y="253"/>
                  </a:lnTo>
                  <a:lnTo>
                    <a:pt x="221" y="291"/>
                  </a:lnTo>
                  <a:lnTo>
                    <a:pt x="242" y="310"/>
                  </a:lnTo>
                  <a:lnTo>
                    <a:pt x="306" y="319"/>
                  </a:lnTo>
                  <a:lnTo>
                    <a:pt x="344" y="312"/>
                  </a:lnTo>
                  <a:lnTo>
                    <a:pt x="332" y="295"/>
                  </a:lnTo>
                  <a:lnTo>
                    <a:pt x="349" y="280"/>
                  </a:lnTo>
                  <a:lnTo>
                    <a:pt x="334" y="268"/>
                  </a:lnTo>
                  <a:lnTo>
                    <a:pt x="383" y="261"/>
                  </a:lnTo>
                  <a:lnTo>
                    <a:pt x="387" y="242"/>
                  </a:lnTo>
                  <a:lnTo>
                    <a:pt x="359" y="216"/>
                  </a:lnTo>
                  <a:lnTo>
                    <a:pt x="357" y="214"/>
                  </a:lnTo>
                  <a:lnTo>
                    <a:pt x="368" y="176"/>
                  </a:lnTo>
                  <a:lnTo>
                    <a:pt x="391" y="163"/>
                  </a:lnTo>
                  <a:lnTo>
                    <a:pt x="391" y="140"/>
                  </a:lnTo>
                  <a:lnTo>
                    <a:pt x="376" y="138"/>
                  </a:lnTo>
                  <a:lnTo>
                    <a:pt x="372" y="59"/>
                  </a:lnTo>
                  <a:lnTo>
                    <a:pt x="298" y="63"/>
                  </a:lnTo>
                  <a:lnTo>
                    <a:pt x="276" y="40"/>
                  </a:lnTo>
                  <a:lnTo>
                    <a:pt x="249" y="49"/>
                  </a:lnTo>
                  <a:lnTo>
                    <a:pt x="187" y="2"/>
                  </a:lnTo>
                  <a:lnTo>
                    <a:pt x="155" y="0"/>
                  </a:lnTo>
                  <a:lnTo>
                    <a:pt x="151" y="19"/>
                  </a:lnTo>
                  <a:lnTo>
                    <a:pt x="123" y="2"/>
                  </a:lnTo>
                  <a:lnTo>
                    <a:pt x="106" y="23"/>
                  </a:lnTo>
                  <a:lnTo>
                    <a:pt x="57" y="34"/>
                  </a:lnTo>
                  <a:lnTo>
                    <a:pt x="59" y="70"/>
                  </a:lnTo>
                  <a:lnTo>
                    <a:pt x="83" y="91"/>
                  </a:lnTo>
                  <a:lnTo>
                    <a:pt x="53" y="95"/>
                  </a:lnTo>
                  <a:lnTo>
                    <a:pt x="42" y="134"/>
                  </a:lnTo>
                  <a:lnTo>
                    <a:pt x="66" y="144"/>
                  </a:lnTo>
                  <a:lnTo>
                    <a:pt x="19" y="204"/>
                  </a:lnTo>
                  <a:lnTo>
                    <a:pt x="0" y="236"/>
                  </a:lnTo>
                  <a:lnTo>
                    <a:pt x="0" y="2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id="{9EA50D01-C0E3-420E-AFB7-B087BAE93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568" y="2832983"/>
              <a:ext cx="466774" cy="459097"/>
            </a:xfrm>
            <a:custGeom>
              <a:avLst/>
              <a:gdLst>
                <a:gd name="T0" fmla="*/ 0 w 304"/>
                <a:gd name="T1" fmla="*/ 263 h 299"/>
                <a:gd name="T2" fmla="*/ 143 w 304"/>
                <a:gd name="T3" fmla="*/ 299 h 299"/>
                <a:gd name="T4" fmla="*/ 181 w 304"/>
                <a:gd name="T5" fmla="*/ 282 h 299"/>
                <a:gd name="T6" fmla="*/ 209 w 304"/>
                <a:gd name="T7" fmla="*/ 291 h 299"/>
                <a:gd name="T8" fmla="*/ 198 w 304"/>
                <a:gd name="T9" fmla="*/ 270 h 299"/>
                <a:gd name="T10" fmla="*/ 196 w 304"/>
                <a:gd name="T11" fmla="*/ 265 h 299"/>
                <a:gd name="T12" fmla="*/ 215 w 304"/>
                <a:gd name="T13" fmla="*/ 251 h 299"/>
                <a:gd name="T14" fmla="*/ 207 w 304"/>
                <a:gd name="T15" fmla="*/ 236 h 299"/>
                <a:gd name="T16" fmla="*/ 236 w 304"/>
                <a:gd name="T17" fmla="*/ 223 h 299"/>
                <a:gd name="T18" fmla="*/ 226 w 304"/>
                <a:gd name="T19" fmla="*/ 189 h 299"/>
                <a:gd name="T20" fmla="*/ 251 w 304"/>
                <a:gd name="T21" fmla="*/ 185 h 299"/>
                <a:gd name="T22" fmla="*/ 249 w 304"/>
                <a:gd name="T23" fmla="*/ 148 h 299"/>
                <a:gd name="T24" fmla="*/ 275 w 304"/>
                <a:gd name="T25" fmla="*/ 134 h 299"/>
                <a:gd name="T26" fmla="*/ 275 w 304"/>
                <a:gd name="T27" fmla="*/ 87 h 299"/>
                <a:gd name="T28" fmla="*/ 302 w 304"/>
                <a:gd name="T29" fmla="*/ 72 h 299"/>
                <a:gd name="T30" fmla="*/ 304 w 304"/>
                <a:gd name="T31" fmla="*/ 44 h 299"/>
                <a:gd name="T32" fmla="*/ 283 w 304"/>
                <a:gd name="T33" fmla="*/ 42 h 299"/>
                <a:gd name="T34" fmla="*/ 281 w 304"/>
                <a:gd name="T35" fmla="*/ 15 h 299"/>
                <a:gd name="T36" fmla="*/ 260 w 304"/>
                <a:gd name="T37" fmla="*/ 0 h 299"/>
                <a:gd name="T38" fmla="*/ 230 w 304"/>
                <a:gd name="T39" fmla="*/ 27 h 299"/>
                <a:gd name="T40" fmla="*/ 207 w 304"/>
                <a:gd name="T41" fmla="*/ 17 h 299"/>
                <a:gd name="T42" fmla="*/ 158 w 304"/>
                <a:gd name="T43" fmla="*/ 40 h 299"/>
                <a:gd name="T44" fmla="*/ 153 w 304"/>
                <a:gd name="T45" fmla="*/ 25 h 299"/>
                <a:gd name="T46" fmla="*/ 132 w 304"/>
                <a:gd name="T47" fmla="*/ 40 h 299"/>
                <a:gd name="T48" fmla="*/ 109 w 304"/>
                <a:gd name="T49" fmla="*/ 19 h 299"/>
                <a:gd name="T50" fmla="*/ 56 w 304"/>
                <a:gd name="T51" fmla="*/ 12 h 299"/>
                <a:gd name="T52" fmla="*/ 58 w 304"/>
                <a:gd name="T53" fmla="*/ 78 h 299"/>
                <a:gd name="T54" fmla="*/ 45 w 304"/>
                <a:gd name="T55" fmla="*/ 100 h 299"/>
                <a:gd name="T56" fmla="*/ 60 w 304"/>
                <a:gd name="T57" fmla="*/ 191 h 299"/>
                <a:gd name="T58" fmla="*/ 26 w 304"/>
                <a:gd name="T59" fmla="*/ 206 h 299"/>
                <a:gd name="T60" fmla="*/ 0 w 304"/>
                <a:gd name="T61" fmla="*/ 261 h 299"/>
                <a:gd name="T62" fmla="*/ 0 w 304"/>
                <a:gd name="T63" fmla="*/ 26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04" h="299">
                  <a:moveTo>
                    <a:pt x="0" y="263"/>
                  </a:moveTo>
                  <a:lnTo>
                    <a:pt x="143" y="299"/>
                  </a:lnTo>
                  <a:lnTo>
                    <a:pt x="181" y="282"/>
                  </a:lnTo>
                  <a:lnTo>
                    <a:pt x="209" y="291"/>
                  </a:lnTo>
                  <a:lnTo>
                    <a:pt x="198" y="270"/>
                  </a:lnTo>
                  <a:lnTo>
                    <a:pt x="196" y="265"/>
                  </a:lnTo>
                  <a:lnTo>
                    <a:pt x="215" y="251"/>
                  </a:lnTo>
                  <a:lnTo>
                    <a:pt x="207" y="236"/>
                  </a:lnTo>
                  <a:lnTo>
                    <a:pt x="236" y="223"/>
                  </a:lnTo>
                  <a:lnTo>
                    <a:pt x="226" y="189"/>
                  </a:lnTo>
                  <a:lnTo>
                    <a:pt x="251" y="185"/>
                  </a:lnTo>
                  <a:lnTo>
                    <a:pt x="249" y="148"/>
                  </a:lnTo>
                  <a:lnTo>
                    <a:pt x="275" y="134"/>
                  </a:lnTo>
                  <a:lnTo>
                    <a:pt x="275" y="87"/>
                  </a:lnTo>
                  <a:lnTo>
                    <a:pt x="302" y="72"/>
                  </a:lnTo>
                  <a:lnTo>
                    <a:pt x="304" y="44"/>
                  </a:lnTo>
                  <a:lnTo>
                    <a:pt x="283" y="42"/>
                  </a:lnTo>
                  <a:lnTo>
                    <a:pt x="281" y="15"/>
                  </a:lnTo>
                  <a:lnTo>
                    <a:pt x="260" y="0"/>
                  </a:lnTo>
                  <a:lnTo>
                    <a:pt x="230" y="27"/>
                  </a:lnTo>
                  <a:lnTo>
                    <a:pt x="207" y="17"/>
                  </a:lnTo>
                  <a:lnTo>
                    <a:pt x="158" y="40"/>
                  </a:lnTo>
                  <a:lnTo>
                    <a:pt x="153" y="25"/>
                  </a:lnTo>
                  <a:lnTo>
                    <a:pt x="132" y="40"/>
                  </a:lnTo>
                  <a:lnTo>
                    <a:pt x="109" y="19"/>
                  </a:lnTo>
                  <a:lnTo>
                    <a:pt x="56" y="12"/>
                  </a:lnTo>
                  <a:lnTo>
                    <a:pt x="58" y="78"/>
                  </a:lnTo>
                  <a:lnTo>
                    <a:pt x="45" y="100"/>
                  </a:lnTo>
                  <a:lnTo>
                    <a:pt x="60" y="191"/>
                  </a:lnTo>
                  <a:lnTo>
                    <a:pt x="26" y="206"/>
                  </a:lnTo>
                  <a:lnTo>
                    <a:pt x="0" y="261"/>
                  </a:lnTo>
                  <a:lnTo>
                    <a:pt x="0" y="26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1" name="Freeform 34">
              <a:extLst>
                <a:ext uri="{FF2B5EF4-FFF2-40B4-BE49-F238E27FC236}">
                  <a16:creationId xmlns:a16="http://schemas.microsoft.com/office/drawing/2014/main" id="{C38687D3-47A0-4BCA-BEFD-75A5D19E4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150" y="3416450"/>
              <a:ext cx="528191" cy="525121"/>
            </a:xfrm>
            <a:custGeom>
              <a:avLst/>
              <a:gdLst>
                <a:gd name="T0" fmla="*/ 4 w 344"/>
                <a:gd name="T1" fmla="*/ 13 h 342"/>
                <a:gd name="T2" fmla="*/ 32 w 344"/>
                <a:gd name="T3" fmla="*/ 4 h 342"/>
                <a:gd name="T4" fmla="*/ 66 w 344"/>
                <a:gd name="T5" fmla="*/ 0 h 342"/>
                <a:gd name="T6" fmla="*/ 81 w 344"/>
                <a:gd name="T7" fmla="*/ 24 h 342"/>
                <a:gd name="T8" fmla="*/ 81 w 344"/>
                <a:gd name="T9" fmla="*/ 24 h 342"/>
                <a:gd name="T10" fmla="*/ 125 w 344"/>
                <a:gd name="T11" fmla="*/ 43 h 342"/>
                <a:gd name="T12" fmla="*/ 136 w 344"/>
                <a:gd name="T13" fmla="*/ 28 h 342"/>
                <a:gd name="T14" fmla="*/ 159 w 344"/>
                <a:gd name="T15" fmla="*/ 34 h 342"/>
                <a:gd name="T16" fmla="*/ 161 w 344"/>
                <a:gd name="T17" fmla="*/ 9 h 342"/>
                <a:gd name="T18" fmla="*/ 221 w 344"/>
                <a:gd name="T19" fmla="*/ 68 h 342"/>
                <a:gd name="T20" fmla="*/ 242 w 344"/>
                <a:gd name="T21" fmla="*/ 75 h 342"/>
                <a:gd name="T22" fmla="*/ 255 w 344"/>
                <a:gd name="T23" fmla="*/ 58 h 342"/>
                <a:gd name="T24" fmla="*/ 255 w 344"/>
                <a:gd name="T25" fmla="*/ 79 h 342"/>
                <a:gd name="T26" fmla="*/ 276 w 344"/>
                <a:gd name="T27" fmla="*/ 72 h 342"/>
                <a:gd name="T28" fmla="*/ 289 w 344"/>
                <a:gd name="T29" fmla="*/ 100 h 342"/>
                <a:gd name="T30" fmla="*/ 312 w 344"/>
                <a:gd name="T31" fmla="*/ 89 h 342"/>
                <a:gd name="T32" fmla="*/ 321 w 344"/>
                <a:gd name="T33" fmla="*/ 126 h 342"/>
                <a:gd name="T34" fmla="*/ 344 w 344"/>
                <a:gd name="T35" fmla="*/ 138 h 342"/>
                <a:gd name="T36" fmla="*/ 340 w 344"/>
                <a:gd name="T37" fmla="*/ 158 h 342"/>
                <a:gd name="T38" fmla="*/ 331 w 344"/>
                <a:gd name="T39" fmla="*/ 160 h 342"/>
                <a:gd name="T40" fmla="*/ 316 w 344"/>
                <a:gd name="T41" fmla="*/ 160 h 342"/>
                <a:gd name="T42" fmla="*/ 316 w 344"/>
                <a:gd name="T43" fmla="*/ 168 h 342"/>
                <a:gd name="T44" fmla="*/ 299 w 344"/>
                <a:gd name="T45" fmla="*/ 172 h 342"/>
                <a:gd name="T46" fmla="*/ 306 w 344"/>
                <a:gd name="T47" fmla="*/ 194 h 342"/>
                <a:gd name="T48" fmla="*/ 287 w 344"/>
                <a:gd name="T49" fmla="*/ 221 h 342"/>
                <a:gd name="T50" fmla="*/ 312 w 344"/>
                <a:gd name="T51" fmla="*/ 264 h 342"/>
                <a:gd name="T52" fmla="*/ 304 w 344"/>
                <a:gd name="T53" fmla="*/ 289 h 342"/>
                <a:gd name="T54" fmla="*/ 242 w 344"/>
                <a:gd name="T55" fmla="*/ 323 h 342"/>
                <a:gd name="T56" fmla="*/ 195 w 344"/>
                <a:gd name="T57" fmla="*/ 306 h 342"/>
                <a:gd name="T58" fmla="*/ 151 w 344"/>
                <a:gd name="T59" fmla="*/ 342 h 342"/>
                <a:gd name="T60" fmla="*/ 134 w 344"/>
                <a:gd name="T61" fmla="*/ 317 h 342"/>
                <a:gd name="T62" fmla="*/ 87 w 344"/>
                <a:gd name="T63" fmla="*/ 332 h 342"/>
                <a:gd name="T64" fmla="*/ 42 w 344"/>
                <a:gd name="T65" fmla="*/ 287 h 342"/>
                <a:gd name="T66" fmla="*/ 57 w 344"/>
                <a:gd name="T67" fmla="*/ 202 h 342"/>
                <a:gd name="T68" fmla="*/ 34 w 344"/>
                <a:gd name="T69" fmla="*/ 119 h 342"/>
                <a:gd name="T70" fmla="*/ 6 w 344"/>
                <a:gd name="T71" fmla="*/ 92 h 342"/>
                <a:gd name="T72" fmla="*/ 21 w 344"/>
                <a:gd name="T73" fmla="*/ 55 h 342"/>
                <a:gd name="T74" fmla="*/ 6 w 344"/>
                <a:gd name="T75" fmla="*/ 24 h 342"/>
                <a:gd name="T76" fmla="*/ 0 w 344"/>
                <a:gd name="T77" fmla="*/ 13 h 342"/>
                <a:gd name="T78" fmla="*/ 4 w 344"/>
                <a:gd name="T79" fmla="*/ 1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4" h="342">
                  <a:moveTo>
                    <a:pt x="4" y="13"/>
                  </a:moveTo>
                  <a:lnTo>
                    <a:pt x="32" y="4"/>
                  </a:lnTo>
                  <a:lnTo>
                    <a:pt x="66" y="0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125" y="43"/>
                  </a:lnTo>
                  <a:lnTo>
                    <a:pt x="136" y="28"/>
                  </a:lnTo>
                  <a:lnTo>
                    <a:pt x="159" y="34"/>
                  </a:lnTo>
                  <a:lnTo>
                    <a:pt x="161" y="9"/>
                  </a:lnTo>
                  <a:lnTo>
                    <a:pt x="221" y="68"/>
                  </a:lnTo>
                  <a:lnTo>
                    <a:pt x="242" y="75"/>
                  </a:lnTo>
                  <a:lnTo>
                    <a:pt x="255" y="58"/>
                  </a:lnTo>
                  <a:lnTo>
                    <a:pt x="255" y="79"/>
                  </a:lnTo>
                  <a:lnTo>
                    <a:pt x="276" y="72"/>
                  </a:lnTo>
                  <a:lnTo>
                    <a:pt x="289" y="100"/>
                  </a:lnTo>
                  <a:lnTo>
                    <a:pt x="312" y="89"/>
                  </a:lnTo>
                  <a:lnTo>
                    <a:pt x="321" y="126"/>
                  </a:lnTo>
                  <a:lnTo>
                    <a:pt x="344" y="138"/>
                  </a:lnTo>
                  <a:lnTo>
                    <a:pt x="340" y="158"/>
                  </a:lnTo>
                  <a:lnTo>
                    <a:pt x="331" y="160"/>
                  </a:lnTo>
                  <a:lnTo>
                    <a:pt x="316" y="160"/>
                  </a:lnTo>
                  <a:lnTo>
                    <a:pt x="316" y="168"/>
                  </a:lnTo>
                  <a:lnTo>
                    <a:pt x="299" y="172"/>
                  </a:lnTo>
                  <a:lnTo>
                    <a:pt x="306" y="194"/>
                  </a:lnTo>
                  <a:lnTo>
                    <a:pt x="287" y="221"/>
                  </a:lnTo>
                  <a:lnTo>
                    <a:pt x="312" y="264"/>
                  </a:lnTo>
                  <a:lnTo>
                    <a:pt x="304" y="289"/>
                  </a:lnTo>
                  <a:lnTo>
                    <a:pt x="242" y="323"/>
                  </a:lnTo>
                  <a:lnTo>
                    <a:pt x="195" y="306"/>
                  </a:lnTo>
                  <a:lnTo>
                    <a:pt x="151" y="342"/>
                  </a:lnTo>
                  <a:lnTo>
                    <a:pt x="134" y="317"/>
                  </a:lnTo>
                  <a:lnTo>
                    <a:pt x="87" y="332"/>
                  </a:lnTo>
                  <a:lnTo>
                    <a:pt x="42" y="287"/>
                  </a:lnTo>
                  <a:lnTo>
                    <a:pt x="57" y="202"/>
                  </a:lnTo>
                  <a:lnTo>
                    <a:pt x="34" y="119"/>
                  </a:lnTo>
                  <a:lnTo>
                    <a:pt x="6" y="92"/>
                  </a:lnTo>
                  <a:lnTo>
                    <a:pt x="21" y="55"/>
                  </a:lnTo>
                  <a:lnTo>
                    <a:pt x="6" y="24"/>
                  </a:lnTo>
                  <a:lnTo>
                    <a:pt x="0" y="13"/>
                  </a:lnTo>
                  <a:lnTo>
                    <a:pt x="4" y="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id="{D18840D7-EA4C-446B-9D13-CDDB857B5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2189633"/>
              <a:ext cx="535869" cy="391538"/>
            </a:xfrm>
            <a:custGeom>
              <a:avLst/>
              <a:gdLst>
                <a:gd name="T0" fmla="*/ 0 w 349"/>
                <a:gd name="T1" fmla="*/ 187 h 255"/>
                <a:gd name="T2" fmla="*/ 23 w 349"/>
                <a:gd name="T3" fmla="*/ 178 h 255"/>
                <a:gd name="T4" fmla="*/ 2 w 349"/>
                <a:gd name="T5" fmla="*/ 127 h 255"/>
                <a:gd name="T6" fmla="*/ 21 w 349"/>
                <a:gd name="T7" fmla="*/ 98 h 255"/>
                <a:gd name="T8" fmla="*/ 6 w 349"/>
                <a:gd name="T9" fmla="*/ 93 h 255"/>
                <a:gd name="T10" fmla="*/ 2 w 349"/>
                <a:gd name="T11" fmla="*/ 40 h 255"/>
                <a:gd name="T12" fmla="*/ 15 w 349"/>
                <a:gd name="T13" fmla="*/ 27 h 255"/>
                <a:gd name="T14" fmla="*/ 0 w 349"/>
                <a:gd name="T15" fmla="*/ 21 h 255"/>
                <a:gd name="T16" fmla="*/ 23 w 349"/>
                <a:gd name="T17" fmla="*/ 0 h 255"/>
                <a:gd name="T18" fmla="*/ 38 w 349"/>
                <a:gd name="T19" fmla="*/ 21 h 255"/>
                <a:gd name="T20" fmla="*/ 132 w 349"/>
                <a:gd name="T21" fmla="*/ 23 h 255"/>
                <a:gd name="T22" fmla="*/ 225 w 349"/>
                <a:gd name="T23" fmla="*/ 72 h 255"/>
                <a:gd name="T24" fmla="*/ 236 w 349"/>
                <a:gd name="T25" fmla="*/ 53 h 255"/>
                <a:gd name="T26" fmla="*/ 261 w 349"/>
                <a:gd name="T27" fmla="*/ 55 h 255"/>
                <a:gd name="T28" fmla="*/ 278 w 349"/>
                <a:gd name="T29" fmla="*/ 25 h 255"/>
                <a:gd name="T30" fmla="*/ 300 w 349"/>
                <a:gd name="T31" fmla="*/ 36 h 255"/>
                <a:gd name="T32" fmla="*/ 338 w 349"/>
                <a:gd name="T33" fmla="*/ 23 h 255"/>
                <a:gd name="T34" fmla="*/ 334 w 349"/>
                <a:gd name="T35" fmla="*/ 91 h 255"/>
                <a:gd name="T36" fmla="*/ 349 w 349"/>
                <a:gd name="T37" fmla="*/ 119 h 255"/>
                <a:gd name="T38" fmla="*/ 300 w 349"/>
                <a:gd name="T39" fmla="*/ 164 h 255"/>
                <a:gd name="T40" fmla="*/ 319 w 349"/>
                <a:gd name="T41" fmla="*/ 198 h 255"/>
                <a:gd name="T42" fmla="*/ 332 w 349"/>
                <a:gd name="T43" fmla="*/ 225 h 255"/>
                <a:gd name="T44" fmla="*/ 327 w 349"/>
                <a:gd name="T45" fmla="*/ 240 h 255"/>
                <a:gd name="T46" fmla="*/ 306 w 349"/>
                <a:gd name="T47" fmla="*/ 255 h 255"/>
                <a:gd name="T48" fmla="*/ 210 w 349"/>
                <a:gd name="T49" fmla="*/ 253 h 255"/>
                <a:gd name="T50" fmla="*/ 147 w 349"/>
                <a:gd name="T51" fmla="*/ 212 h 255"/>
                <a:gd name="T52" fmla="*/ 121 w 349"/>
                <a:gd name="T53" fmla="*/ 223 h 255"/>
                <a:gd name="T54" fmla="*/ 89 w 349"/>
                <a:gd name="T55" fmla="*/ 204 h 255"/>
                <a:gd name="T56" fmla="*/ 42 w 349"/>
                <a:gd name="T57" fmla="*/ 219 h 255"/>
                <a:gd name="T58" fmla="*/ 8 w 349"/>
                <a:gd name="T59" fmla="*/ 212 h 255"/>
                <a:gd name="T60" fmla="*/ 0 w 349"/>
                <a:gd name="T61" fmla="*/ 191 h 255"/>
                <a:gd name="T62" fmla="*/ 0 w 349"/>
                <a:gd name="T63" fmla="*/ 189 h 255"/>
                <a:gd name="T64" fmla="*/ 0 w 349"/>
                <a:gd name="T65" fmla="*/ 187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49" h="255">
                  <a:moveTo>
                    <a:pt x="0" y="187"/>
                  </a:moveTo>
                  <a:lnTo>
                    <a:pt x="23" y="178"/>
                  </a:lnTo>
                  <a:lnTo>
                    <a:pt x="2" y="127"/>
                  </a:lnTo>
                  <a:lnTo>
                    <a:pt x="21" y="98"/>
                  </a:lnTo>
                  <a:lnTo>
                    <a:pt x="6" y="93"/>
                  </a:lnTo>
                  <a:lnTo>
                    <a:pt x="2" y="40"/>
                  </a:lnTo>
                  <a:lnTo>
                    <a:pt x="15" y="27"/>
                  </a:lnTo>
                  <a:lnTo>
                    <a:pt x="0" y="21"/>
                  </a:lnTo>
                  <a:lnTo>
                    <a:pt x="23" y="0"/>
                  </a:lnTo>
                  <a:lnTo>
                    <a:pt x="38" y="21"/>
                  </a:lnTo>
                  <a:lnTo>
                    <a:pt x="132" y="23"/>
                  </a:lnTo>
                  <a:lnTo>
                    <a:pt x="225" y="72"/>
                  </a:lnTo>
                  <a:lnTo>
                    <a:pt x="236" y="53"/>
                  </a:lnTo>
                  <a:lnTo>
                    <a:pt x="261" y="55"/>
                  </a:lnTo>
                  <a:lnTo>
                    <a:pt x="278" y="25"/>
                  </a:lnTo>
                  <a:lnTo>
                    <a:pt x="300" y="36"/>
                  </a:lnTo>
                  <a:lnTo>
                    <a:pt x="338" y="23"/>
                  </a:lnTo>
                  <a:lnTo>
                    <a:pt x="334" y="91"/>
                  </a:lnTo>
                  <a:lnTo>
                    <a:pt x="349" y="119"/>
                  </a:lnTo>
                  <a:lnTo>
                    <a:pt x="300" y="164"/>
                  </a:lnTo>
                  <a:lnTo>
                    <a:pt x="319" y="198"/>
                  </a:lnTo>
                  <a:lnTo>
                    <a:pt x="332" y="225"/>
                  </a:lnTo>
                  <a:lnTo>
                    <a:pt x="327" y="240"/>
                  </a:lnTo>
                  <a:lnTo>
                    <a:pt x="306" y="255"/>
                  </a:lnTo>
                  <a:lnTo>
                    <a:pt x="210" y="253"/>
                  </a:lnTo>
                  <a:lnTo>
                    <a:pt x="147" y="212"/>
                  </a:lnTo>
                  <a:lnTo>
                    <a:pt x="121" y="223"/>
                  </a:lnTo>
                  <a:lnTo>
                    <a:pt x="89" y="204"/>
                  </a:lnTo>
                  <a:lnTo>
                    <a:pt x="42" y="219"/>
                  </a:lnTo>
                  <a:lnTo>
                    <a:pt x="8" y="212"/>
                  </a:lnTo>
                  <a:lnTo>
                    <a:pt x="0" y="191"/>
                  </a:lnTo>
                  <a:lnTo>
                    <a:pt x="0" y="189"/>
                  </a:lnTo>
                  <a:lnTo>
                    <a:pt x="0" y="18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3" name="Freeform 36">
              <a:extLst>
                <a:ext uri="{FF2B5EF4-FFF2-40B4-BE49-F238E27FC236}">
                  <a16:creationId xmlns:a16="http://schemas.microsoft.com/office/drawing/2014/main" id="{80EC1604-72E4-4E6F-A146-38585EC937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6063" y="5619808"/>
              <a:ext cx="741618" cy="448349"/>
            </a:xfrm>
            <a:custGeom>
              <a:avLst/>
              <a:gdLst>
                <a:gd name="T0" fmla="*/ 15 w 483"/>
                <a:gd name="T1" fmla="*/ 87 h 292"/>
                <a:gd name="T2" fmla="*/ 41 w 483"/>
                <a:gd name="T3" fmla="*/ 87 h 292"/>
                <a:gd name="T4" fmla="*/ 45 w 483"/>
                <a:gd name="T5" fmla="*/ 104 h 292"/>
                <a:gd name="T6" fmla="*/ 66 w 483"/>
                <a:gd name="T7" fmla="*/ 92 h 292"/>
                <a:gd name="T8" fmla="*/ 100 w 483"/>
                <a:gd name="T9" fmla="*/ 104 h 292"/>
                <a:gd name="T10" fmla="*/ 96 w 483"/>
                <a:gd name="T11" fmla="*/ 147 h 292"/>
                <a:gd name="T12" fmla="*/ 77 w 483"/>
                <a:gd name="T13" fmla="*/ 166 h 292"/>
                <a:gd name="T14" fmla="*/ 85 w 483"/>
                <a:gd name="T15" fmla="*/ 183 h 292"/>
                <a:gd name="T16" fmla="*/ 109 w 483"/>
                <a:gd name="T17" fmla="*/ 192 h 292"/>
                <a:gd name="T18" fmla="*/ 115 w 483"/>
                <a:gd name="T19" fmla="*/ 164 h 292"/>
                <a:gd name="T20" fmla="*/ 130 w 483"/>
                <a:gd name="T21" fmla="*/ 164 h 292"/>
                <a:gd name="T22" fmla="*/ 132 w 483"/>
                <a:gd name="T23" fmla="*/ 189 h 292"/>
                <a:gd name="T24" fmla="*/ 211 w 483"/>
                <a:gd name="T25" fmla="*/ 223 h 292"/>
                <a:gd name="T26" fmla="*/ 268 w 483"/>
                <a:gd name="T27" fmla="*/ 226 h 292"/>
                <a:gd name="T28" fmla="*/ 311 w 483"/>
                <a:gd name="T29" fmla="*/ 292 h 292"/>
                <a:gd name="T30" fmla="*/ 332 w 483"/>
                <a:gd name="T31" fmla="*/ 279 h 292"/>
                <a:gd name="T32" fmla="*/ 383 w 483"/>
                <a:gd name="T33" fmla="*/ 274 h 292"/>
                <a:gd name="T34" fmla="*/ 381 w 483"/>
                <a:gd name="T35" fmla="*/ 249 h 292"/>
                <a:gd name="T36" fmla="*/ 483 w 483"/>
                <a:gd name="T37" fmla="*/ 98 h 292"/>
                <a:gd name="T38" fmla="*/ 476 w 483"/>
                <a:gd name="T39" fmla="*/ 60 h 292"/>
                <a:gd name="T40" fmla="*/ 459 w 483"/>
                <a:gd name="T41" fmla="*/ 70 h 292"/>
                <a:gd name="T42" fmla="*/ 472 w 483"/>
                <a:gd name="T43" fmla="*/ 49 h 292"/>
                <a:gd name="T44" fmla="*/ 453 w 483"/>
                <a:gd name="T45" fmla="*/ 9 h 292"/>
                <a:gd name="T46" fmla="*/ 417 w 483"/>
                <a:gd name="T47" fmla="*/ 4 h 292"/>
                <a:gd name="T48" fmla="*/ 362 w 483"/>
                <a:gd name="T49" fmla="*/ 15 h 292"/>
                <a:gd name="T50" fmla="*/ 355 w 483"/>
                <a:gd name="T51" fmla="*/ 0 h 292"/>
                <a:gd name="T52" fmla="*/ 315 w 483"/>
                <a:gd name="T53" fmla="*/ 17 h 292"/>
                <a:gd name="T54" fmla="*/ 274 w 483"/>
                <a:gd name="T55" fmla="*/ 0 h 292"/>
                <a:gd name="T56" fmla="*/ 175 w 483"/>
                <a:gd name="T57" fmla="*/ 28 h 292"/>
                <a:gd name="T58" fmla="*/ 168 w 483"/>
                <a:gd name="T59" fmla="*/ 7 h 292"/>
                <a:gd name="T60" fmla="*/ 113 w 483"/>
                <a:gd name="T61" fmla="*/ 22 h 292"/>
                <a:gd name="T62" fmla="*/ 79 w 483"/>
                <a:gd name="T63" fmla="*/ 9 h 292"/>
                <a:gd name="T64" fmla="*/ 75 w 483"/>
                <a:gd name="T65" fmla="*/ 7 h 292"/>
                <a:gd name="T66" fmla="*/ 32 w 483"/>
                <a:gd name="T67" fmla="*/ 56 h 292"/>
                <a:gd name="T68" fmla="*/ 0 w 483"/>
                <a:gd name="T69" fmla="*/ 58 h 292"/>
                <a:gd name="T70" fmla="*/ 15 w 483"/>
                <a:gd name="T71" fmla="*/ 87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83" h="292">
                  <a:moveTo>
                    <a:pt x="15" y="87"/>
                  </a:moveTo>
                  <a:lnTo>
                    <a:pt x="41" y="87"/>
                  </a:lnTo>
                  <a:lnTo>
                    <a:pt x="45" y="104"/>
                  </a:lnTo>
                  <a:lnTo>
                    <a:pt x="66" y="92"/>
                  </a:lnTo>
                  <a:lnTo>
                    <a:pt x="100" y="104"/>
                  </a:lnTo>
                  <a:lnTo>
                    <a:pt x="96" y="147"/>
                  </a:lnTo>
                  <a:lnTo>
                    <a:pt x="77" y="166"/>
                  </a:lnTo>
                  <a:lnTo>
                    <a:pt x="85" y="183"/>
                  </a:lnTo>
                  <a:lnTo>
                    <a:pt x="109" y="192"/>
                  </a:lnTo>
                  <a:lnTo>
                    <a:pt x="115" y="164"/>
                  </a:lnTo>
                  <a:lnTo>
                    <a:pt x="130" y="164"/>
                  </a:lnTo>
                  <a:lnTo>
                    <a:pt x="132" y="189"/>
                  </a:lnTo>
                  <a:lnTo>
                    <a:pt x="211" y="223"/>
                  </a:lnTo>
                  <a:lnTo>
                    <a:pt x="268" y="226"/>
                  </a:lnTo>
                  <a:lnTo>
                    <a:pt x="311" y="292"/>
                  </a:lnTo>
                  <a:lnTo>
                    <a:pt x="332" y="279"/>
                  </a:lnTo>
                  <a:lnTo>
                    <a:pt x="383" y="274"/>
                  </a:lnTo>
                  <a:lnTo>
                    <a:pt x="381" y="249"/>
                  </a:lnTo>
                  <a:lnTo>
                    <a:pt x="483" y="98"/>
                  </a:lnTo>
                  <a:lnTo>
                    <a:pt x="476" y="60"/>
                  </a:lnTo>
                  <a:lnTo>
                    <a:pt x="459" y="70"/>
                  </a:lnTo>
                  <a:lnTo>
                    <a:pt x="472" y="49"/>
                  </a:lnTo>
                  <a:lnTo>
                    <a:pt x="453" y="9"/>
                  </a:lnTo>
                  <a:lnTo>
                    <a:pt x="417" y="4"/>
                  </a:lnTo>
                  <a:lnTo>
                    <a:pt x="362" y="15"/>
                  </a:lnTo>
                  <a:lnTo>
                    <a:pt x="355" y="0"/>
                  </a:lnTo>
                  <a:lnTo>
                    <a:pt x="315" y="17"/>
                  </a:lnTo>
                  <a:lnTo>
                    <a:pt x="274" y="0"/>
                  </a:lnTo>
                  <a:lnTo>
                    <a:pt x="175" y="28"/>
                  </a:lnTo>
                  <a:lnTo>
                    <a:pt x="168" y="7"/>
                  </a:lnTo>
                  <a:lnTo>
                    <a:pt x="113" y="22"/>
                  </a:lnTo>
                  <a:lnTo>
                    <a:pt x="79" y="9"/>
                  </a:lnTo>
                  <a:lnTo>
                    <a:pt x="75" y="7"/>
                  </a:lnTo>
                  <a:lnTo>
                    <a:pt x="32" y="56"/>
                  </a:lnTo>
                  <a:lnTo>
                    <a:pt x="0" y="58"/>
                  </a:lnTo>
                  <a:lnTo>
                    <a:pt x="15" y="87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15228686-6FD2-4FA7-A663-CCB45181A1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2491" y="3659050"/>
              <a:ext cx="707838" cy="557365"/>
            </a:xfrm>
            <a:custGeom>
              <a:avLst/>
              <a:gdLst>
                <a:gd name="T0" fmla="*/ 2 w 461"/>
                <a:gd name="T1" fmla="*/ 148 h 363"/>
                <a:gd name="T2" fmla="*/ 49 w 461"/>
                <a:gd name="T3" fmla="*/ 165 h 363"/>
                <a:gd name="T4" fmla="*/ 111 w 461"/>
                <a:gd name="T5" fmla="*/ 131 h 363"/>
                <a:gd name="T6" fmla="*/ 119 w 461"/>
                <a:gd name="T7" fmla="*/ 106 h 363"/>
                <a:gd name="T8" fmla="*/ 94 w 461"/>
                <a:gd name="T9" fmla="*/ 63 h 363"/>
                <a:gd name="T10" fmla="*/ 113 w 461"/>
                <a:gd name="T11" fmla="*/ 36 h 363"/>
                <a:gd name="T12" fmla="*/ 106 w 461"/>
                <a:gd name="T13" fmla="*/ 14 h 363"/>
                <a:gd name="T14" fmla="*/ 123 w 461"/>
                <a:gd name="T15" fmla="*/ 10 h 363"/>
                <a:gd name="T16" fmla="*/ 138 w 461"/>
                <a:gd name="T17" fmla="*/ 2 h 363"/>
                <a:gd name="T18" fmla="*/ 147 w 461"/>
                <a:gd name="T19" fmla="*/ 0 h 363"/>
                <a:gd name="T20" fmla="*/ 232 w 461"/>
                <a:gd name="T21" fmla="*/ 48 h 363"/>
                <a:gd name="T22" fmla="*/ 268 w 461"/>
                <a:gd name="T23" fmla="*/ 91 h 363"/>
                <a:gd name="T24" fmla="*/ 323 w 461"/>
                <a:gd name="T25" fmla="*/ 65 h 363"/>
                <a:gd name="T26" fmla="*/ 408 w 461"/>
                <a:gd name="T27" fmla="*/ 59 h 363"/>
                <a:gd name="T28" fmla="*/ 410 w 461"/>
                <a:gd name="T29" fmla="*/ 70 h 363"/>
                <a:gd name="T30" fmla="*/ 408 w 461"/>
                <a:gd name="T31" fmla="*/ 72 h 363"/>
                <a:gd name="T32" fmla="*/ 461 w 461"/>
                <a:gd name="T33" fmla="*/ 104 h 363"/>
                <a:gd name="T34" fmla="*/ 427 w 461"/>
                <a:gd name="T35" fmla="*/ 121 h 363"/>
                <a:gd name="T36" fmla="*/ 457 w 461"/>
                <a:gd name="T37" fmla="*/ 182 h 363"/>
                <a:gd name="T38" fmla="*/ 438 w 461"/>
                <a:gd name="T39" fmla="*/ 212 h 363"/>
                <a:gd name="T40" fmla="*/ 453 w 461"/>
                <a:gd name="T41" fmla="*/ 240 h 363"/>
                <a:gd name="T42" fmla="*/ 427 w 461"/>
                <a:gd name="T43" fmla="*/ 253 h 363"/>
                <a:gd name="T44" fmla="*/ 391 w 461"/>
                <a:gd name="T45" fmla="*/ 227 h 363"/>
                <a:gd name="T46" fmla="*/ 362 w 461"/>
                <a:gd name="T47" fmla="*/ 242 h 363"/>
                <a:gd name="T48" fmla="*/ 332 w 461"/>
                <a:gd name="T49" fmla="*/ 231 h 363"/>
                <a:gd name="T50" fmla="*/ 294 w 461"/>
                <a:gd name="T51" fmla="*/ 355 h 363"/>
                <a:gd name="T52" fmla="*/ 281 w 461"/>
                <a:gd name="T53" fmla="*/ 352 h 363"/>
                <a:gd name="T54" fmla="*/ 270 w 461"/>
                <a:gd name="T55" fmla="*/ 308 h 363"/>
                <a:gd name="T56" fmla="*/ 253 w 461"/>
                <a:gd name="T57" fmla="*/ 323 h 363"/>
                <a:gd name="T58" fmla="*/ 204 w 461"/>
                <a:gd name="T59" fmla="*/ 310 h 363"/>
                <a:gd name="T60" fmla="*/ 194 w 461"/>
                <a:gd name="T61" fmla="*/ 340 h 363"/>
                <a:gd name="T62" fmla="*/ 168 w 461"/>
                <a:gd name="T63" fmla="*/ 363 h 363"/>
                <a:gd name="T64" fmla="*/ 123 w 461"/>
                <a:gd name="T65" fmla="*/ 348 h 363"/>
                <a:gd name="T66" fmla="*/ 92 w 461"/>
                <a:gd name="T67" fmla="*/ 359 h 363"/>
                <a:gd name="T68" fmla="*/ 70 w 461"/>
                <a:gd name="T69" fmla="*/ 344 h 363"/>
                <a:gd name="T70" fmla="*/ 70 w 461"/>
                <a:gd name="T71" fmla="*/ 321 h 363"/>
                <a:gd name="T72" fmla="*/ 96 w 461"/>
                <a:gd name="T73" fmla="*/ 304 h 363"/>
                <a:gd name="T74" fmla="*/ 96 w 461"/>
                <a:gd name="T75" fmla="*/ 259 h 363"/>
                <a:gd name="T76" fmla="*/ 30 w 461"/>
                <a:gd name="T77" fmla="*/ 225 h 363"/>
                <a:gd name="T78" fmla="*/ 0 w 461"/>
                <a:gd name="T79" fmla="*/ 150 h 363"/>
                <a:gd name="T80" fmla="*/ 2 w 461"/>
                <a:gd name="T81" fmla="*/ 148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1" h="363">
                  <a:moveTo>
                    <a:pt x="2" y="148"/>
                  </a:moveTo>
                  <a:lnTo>
                    <a:pt x="49" y="165"/>
                  </a:lnTo>
                  <a:lnTo>
                    <a:pt x="111" y="131"/>
                  </a:lnTo>
                  <a:lnTo>
                    <a:pt x="119" y="106"/>
                  </a:lnTo>
                  <a:lnTo>
                    <a:pt x="94" y="63"/>
                  </a:lnTo>
                  <a:lnTo>
                    <a:pt x="113" y="36"/>
                  </a:lnTo>
                  <a:lnTo>
                    <a:pt x="106" y="14"/>
                  </a:lnTo>
                  <a:lnTo>
                    <a:pt x="123" y="10"/>
                  </a:lnTo>
                  <a:lnTo>
                    <a:pt x="138" y="2"/>
                  </a:lnTo>
                  <a:lnTo>
                    <a:pt x="147" y="0"/>
                  </a:lnTo>
                  <a:lnTo>
                    <a:pt x="232" y="48"/>
                  </a:lnTo>
                  <a:lnTo>
                    <a:pt x="268" y="91"/>
                  </a:lnTo>
                  <a:lnTo>
                    <a:pt x="323" y="65"/>
                  </a:lnTo>
                  <a:lnTo>
                    <a:pt x="408" y="59"/>
                  </a:lnTo>
                  <a:lnTo>
                    <a:pt x="410" y="70"/>
                  </a:lnTo>
                  <a:lnTo>
                    <a:pt x="408" y="72"/>
                  </a:lnTo>
                  <a:lnTo>
                    <a:pt x="461" y="104"/>
                  </a:lnTo>
                  <a:lnTo>
                    <a:pt x="427" y="121"/>
                  </a:lnTo>
                  <a:lnTo>
                    <a:pt x="457" y="182"/>
                  </a:lnTo>
                  <a:lnTo>
                    <a:pt x="438" y="212"/>
                  </a:lnTo>
                  <a:lnTo>
                    <a:pt x="453" y="240"/>
                  </a:lnTo>
                  <a:lnTo>
                    <a:pt x="427" y="253"/>
                  </a:lnTo>
                  <a:lnTo>
                    <a:pt x="391" y="227"/>
                  </a:lnTo>
                  <a:lnTo>
                    <a:pt x="362" y="242"/>
                  </a:lnTo>
                  <a:lnTo>
                    <a:pt x="332" y="231"/>
                  </a:lnTo>
                  <a:lnTo>
                    <a:pt x="294" y="355"/>
                  </a:lnTo>
                  <a:lnTo>
                    <a:pt x="281" y="352"/>
                  </a:lnTo>
                  <a:lnTo>
                    <a:pt x="270" y="308"/>
                  </a:lnTo>
                  <a:lnTo>
                    <a:pt x="253" y="323"/>
                  </a:lnTo>
                  <a:lnTo>
                    <a:pt x="204" y="310"/>
                  </a:lnTo>
                  <a:lnTo>
                    <a:pt x="194" y="340"/>
                  </a:lnTo>
                  <a:lnTo>
                    <a:pt x="168" y="363"/>
                  </a:lnTo>
                  <a:lnTo>
                    <a:pt x="123" y="348"/>
                  </a:lnTo>
                  <a:lnTo>
                    <a:pt x="92" y="359"/>
                  </a:lnTo>
                  <a:lnTo>
                    <a:pt x="70" y="344"/>
                  </a:lnTo>
                  <a:lnTo>
                    <a:pt x="70" y="321"/>
                  </a:lnTo>
                  <a:lnTo>
                    <a:pt x="96" y="304"/>
                  </a:lnTo>
                  <a:lnTo>
                    <a:pt x="96" y="259"/>
                  </a:lnTo>
                  <a:lnTo>
                    <a:pt x="30" y="225"/>
                  </a:lnTo>
                  <a:lnTo>
                    <a:pt x="0" y="150"/>
                  </a:lnTo>
                  <a:lnTo>
                    <a:pt x="2" y="14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5" name="Freeform 38">
              <a:extLst>
                <a:ext uri="{FF2B5EF4-FFF2-40B4-BE49-F238E27FC236}">
                  <a16:creationId xmlns:a16="http://schemas.microsoft.com/office/drawing/2014/main" id="{38196697-D5C6-4CDD-9EE2-3A0B35549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8978" y="3651373"/>
              <a:ext cx="408427" cy="640279"/>
            </a:xfrm>
            <a:custGeom>
              <a:avLst/>
              <a:gdLst>
                <a:gd name="T0" fmla="*/ 3 w 266"/>
                <a:gd name="T1" fmla="*/ 39 h 417"/>
                <a:gd name="T2" fmla="*/ 71 w 266"/>
                <a:gd name="T3" fmla="*/ 36 h 417"/>
                <a:gd name="T4" fmla="*/ 100 w 266"/>
                <a:gd name="T5" fmla="*/ 7 h 417"/>
                <a:gd name="T6" fmla="*/ 107 w 266"/>
                <a:gd name="T7" fmla="*/ 17 h 417"/>
                <a:gd name="T8" fmla="*/ 181 w 266"/>
                <a:gd name="T9" fmla="*/ 0 h 417"/>
                <a:gd name="T10" fmla="*/ 200 w 266"/>
                <a:gd name="T11" fmla="*/ 17 h 417"/>
                <a:gd name="T12" fmla="*/ 200 w 266"/>
                <a:gd name="T13" fmla="*/ 22 h 417"/>
                <a:gd name="T14" fmla="*/ 215 w 266"/>
                <a:gd name="T15" fmla="*/ 87 h 417"/>
                <a:gd name="T16" fmla="*/ 230 w 266"/>
                <a:gd name="T17" fmla="*/ 96 h 417"/>
                <a:gd name="T18" fmla="*/ 211 w 266"/>
                <a:gd name="T19" fmla="*/ 104 h 417"/>
                <a:gd name="T20" fmla="*/ 230 w 266"/>
                <a:gd name="T21" fmla="*/ 141 h 417"/>
                <a:gd name="T22" fmla="*/ 202 w 266"/>
                <a:gd name="T23" fmla="*/ 175 h 417"/>
                <a:gd name="T24" fmla="*/ 228 w 266"/>
                <a:gd name="T25" fmla="*/ 192 h 417"/>
                <a:gd name="T26" fmla="*/ 207 w 266"/>
                <a:gd name="T27" fmla="*/ 234 h 417"/>
                <a:gd name="T28" fmla="*/ 219 w 266"/>
                <a:gd name="T29" fmla="*/ 287 h 417"/>
                <a:gd name="T30" fmla="*/ 260 w 266"/>
                <a:gd name="T31" fmla="*/ 287 h 417"/>
                <a:gd name="T32" fmla="*/ 241 w 266"/>
                <a:gd name="T33" fmla="*/ 340 h 417"/>
                <a:gd name="T34" fmla="*/ 266 w 266"/>
                <a:gd name="T35" fmla="*/ 351 h 417"/>
                <a:gd name="T36" fmla="*/ 260 w 266"/>
                <a:gd name="T37" fmla="*/ 374 h 417"/>
                <a:gd name="T38" fmla="*/ 200 w 266"/>
                <a:gd name="T39" fmla="*/ 387 h 417"/>
                <a:gd name="T40" fmla="*/ 181 w 266"/>
                <a:gd name="T41" fmla="*/ 417 h 417"/>
                <a:gd name="T42" fmla="*/ 137 w 266"/>
                <a:gd name="T43" fmla="*/ 372 h 417"/>
                <a:gd name="T44" fmla="*/ 51 w 266"/>
                <a:gd name="T45" fmla="*/ 349 h 417"/>
                <a:gd name="T46" fmla="*/ 24 w 266"/>
                <a:gd name="T47" fmla="*/ 287 h 417"/>
                <a:gd name="T48" fmla="*/ 79 w 266"/>
                <a:gd name="T49" fmla="*/ 260 h 417"/>
                <a:gd name="T50" fmla="*/ 56 w 266"/>
                <a:gd name="T51" fmla="*/ 253 h 417"/>
                <a:gd name="T52" fmla="*/ 66 w 266"/>
                <a:gd name="T53" fmla="*/ 202 h 417"/>
                <a:gd name="T54" fmla="*/ 47 w 266"/>
                <a:gd name="T55" fmla="*/ 102 h 417"/>
                <a:gd name="T56" fmla="*/ 0 w 266"/>
                <a:gd name="T57" fmla="*/ 41 h 417"/>
                <a:gd name="T58" fmla="*/ 3 w 266"/>
                <a:gd name="T59" fmla="*/ 39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6" h="417">
                  <a:moveTo>
                    <a:pt x="3" y="39"/>
                  </a:moveTo>
                  <a:lnTo>
                    <a:pt x="71" y="36"/>
                  </a:lnTo>
                  <a:lnTo>
                    <a:pt x="100" y="7"/>
                  </a:lnTo>
                  <a:lnTo>
                    <a:pt x="107" y="17"/>
                  </a:lnTo>
                  <a:lnTo>
                    <a:pt x="181" y="0"/>
                  </a:lnTo>
                  <a:lnTo>
                    <a:pt x="200" y="17"/>
                  </a:lnTo>
                  <a:lnTo>
                    <a:pt x="200" y="22"/>
                  </a:lnTo>
                  <a:lnTo>
                    <a:pt x="215" y="87"/>
                  </a:lnTo>
                  <a:lnTo>
                    <a:pt x="230" y="96"/>
                  </a:lnTo>
                  <a:lnTo>
                    <a:pt x="211" y="104"/>
                  </a:lnTo>
                  <a:lnTo>
                    <a:pt x="230" y="141"/>
                  </a:lnTo>
                  <a:lnTo>
                    <a:pt x="202" y="175"/>
                  </a:lnTo>
                  <a:lnTo>
                    <a:pt x="228" y="192"/>
                  </a:lnTo>
                  <a:lnTo>
                    <a:pt x="207" y="234"/>
                  </a:lnTo>
                  <a:lnTo>
                    <a:pt x="219" y="287"/>
                  </a:lnTo>
                  <a:lnTo>
                    <a:pt x="260" y="287"/>
                  </a:lnTo>
                  <a:lnTo>
                    <a:pt x="241" y="340"/>
                  </a:lnTo>
                  <a:lnTo>
                    <a:pt x="266" y="351"/>
                  </a:lnTo>
                  <a:lnTo>
                    <a:pt x="260" y="374"/>
                  </a:lnTo>
                  <a:lnTo>
                    <a:pt x="200" y="387"/>
                  </a:lnTo>
                  <a:lnTo>
                    <a:pt x="181" y="417"/>
                  </a:lnTo>
                  <a:lnTo>
                    <a:pt x="137" y="372"/>
                  </a:lnTo>
                  <a:lnTo>
                    <a:pt x="51" y="349"/>
                  </a:lnTo>
                  <a:lnTo>
                    <a:pt x="24" y="287"/>
                  </a:lnTo>
                  <a:lnTo>
                    <a:pt x="79" y="260"/>
                  </a:lnTo>
                  <a:lnTo>
                    <a:pt x="56" y="253"/>
                  </a:lnTo>
                  <a:lnTo>
                    <a:pt x="66" y="202"/>
                  </a:lnTo>
                  <a:lnTo>
                    <a:pt x="47" y="102"/>
                  </a:lnTo>
                  <a:lnTo>
                    <a:pt x="0" y="41"/>
                  </a:lnTo>
                  <a:lnTo>
                    <a:pt x="3" y="3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6" name="Freeform 39">
              <a:extLst>
                <a:ext uri="{FF2B5EF4-FFF2-40B4-BE49-F238E27FC236}">
                  <a16:creationId xmlns:a16="http://schemas.microsoft.com/office/drawing/2014/main" id="{F1FE9E75-9B60-479F-A7E7-BE3FC4874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4338" y="2645659"/>
              <a:ext cx="66024" cy="115159"/>
            </a:xfrm>
            <a:custGeom>
              <a:avLst/>
              <a:gdLst>
                <a:gd name="T0" fmla="*/ 0 w 43"/>
                <a:gd name="T1" fmla="*/ 43 h 75"/>
                <a:gd name="T2" fmla="*/ 17 w 43"/>
                <a:gd name="T3" fmla="*/ 64 h 75"/>
                <a:gd name="T4" fmla="*/ 40 w 43"/>
                <a:gd name="T5" fmla="*/ 75 h 75"/>
                <a:gd name="T6" fmla="*/ 38 w 43"/>
                <a:gd name="T7" fmla="*/ 73 h 75"/>
                <a:gd name="T8" fmla="*/ 40 w 43"/>
                <a:gd name="T9" fmla="*/ 69 h 75"/>
                <a:gd name="T10" fmla="*/ 43 w 43"/>
                <a:gd name="T11" fmla="*/ 49 h 75"/>
                <a:gd name="T12" fmla="*/ 19 w 43"/>
                <a:gd name="T13" fmla="*/ 37 h 75"/>
                <a:gd name="T14" fmla="*/ 17 w 43"/>
                <a:gd name="T15" fmla="*/ 34 h 75"/>
                <a:gd name="T16" fmla="*/ 40 w 43"/>
                <a:gd name="T17" fmla="*/ 20 h 75"/>
                <a:gd name="T18" fmla="*/ 34 w 43"/>
                <a:gd name="T19" fmla="*/ 0 h 75"/>
                <a:gd name="T20" fmla="*/ 13 w 43"/>
                <a:gd name="T21" fmla="*/ 15 h 75"/>
                <a:gd name="T22" fmla="*/ 0 w 43"/>
                <a:gd name="T23" fmla="*/ 41 h 75"/>
                <a:gd name="T24" fmla="*/ 0 w 43"/>
                <a:gd name="T25" fmla="*/ 4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5">
                  <a:moveTo>
                    <a:pt x="0" y="43"/>
                  </a:moveTo>
                  <a:lnTo>
                    <a:pt x="17" y="64"/>
                  </a:lnTo>
                  <a:lnTo>
                    <a:pt x="40" y="75"/>
                  </a:lnTo>
                  <a:lnTo>
                    <a:pt x="38" y="73"/>
                  </a:lnTo>
                  <a:lnTo>
                    <a:pt x="40" y="69"/>
                  </a:lnTo>
                  <a:lnTo>
                    <a:pt x="43" y="49"/>
                  </a:lnTo>
                  <a:lnTo>
                    <a:pt x="19" y="37"/>
                  </a:lnTo>
                  <a:lnTo>
                    <a:pt x="17" y="34"/>
                  </a:lnTo>
                  <a:lnTo>
                    <a:pt x="40" y="20"/>
                  </a:lnTo>
                  <a:lnTo>
                    <a:pt x="34" y="0"/>
                  </a:lnTo>
                  <a:lnTo>
                    <a:pt x="13" y="15"/>
                  </a:lnTo>
                  <a:lnTo>
                    <a:pt x="0" y="41"/>
                  </a:lnTo>
                  <a:lnTo>
                    <a:pt x="0" y="43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7" name="Freeform 40">
              <a:extLst>
                <a:ext uri="{FF2B5EF4-FFF2-40B4-BE49-F238E27FC236}">
                  <a16:creationId xmlns:a16="http://schemas.microsoft.com/office/drawing/2014/main" id="{6689A605-A536-40E0-95D1-9C00693F5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7140" y="5028663"/>
              <a:ext cx="589609" cy="568113"/>
            </a:xfrm>
            <a:custGeom>
              <a:avLst/>
              <a:gdLst>
                <a:gd name="T0" fmla="*/ 2 w 384"/>
                <a:gd name="T1" fmla="*/ 230 h 370"/>
                <a:gd name="T2" fmla="*/ 4 w 384"/>
                <a:gd name="T3" fmla="*/ 273 h 370"/>
                <a:gd name="T4" fmla="*/ 29 w 384"/>
                <a:gd name="T5" fmla="*/ 285 h 370"/>
                <a:gd name="T6" fmla="*/ 17 w 384"/>
                <a:gd name="T7" fmla="*/ 319 h 370"/>
                <a:gd name="T8" fmla="*/ 42 w 384"/>
                <a:gd name="T9" fmla="*/ 317 h 370"/>
                <a:gd name="T10" fmla="*/ 72 w 384"/>
                <a:gd name="T11" fmla="*/ 349 h 370"/>
                <a:gd name="T12" fmla="*/ 116 w 384"/>
                <a:gd name="T13" fmla="*/ 341 h 370"/>
                <a:gd name="T14" fmla="*/ 144 w 384"/>
                <a:gd name="T15" fmla="*/ 370 h 370"/>
                <a:gd name="T16" fmla="*/ 193 w 384"/>
                <a:gd name="T17" fmla="*/ 321 h 370"/>
                <a:gd name="T18" fmla="*/ 229 w 384"/>
                <a:gd name="T19" fmla="*/ 343 h 370"/>
                <a:gd name="T20" fmla="*/ 253 w 384"/>
                <a:gd name="T21" fmla="*/ 319 h 370"/>
                <a:gd name="T22" fmla="*/ 304 w 384"/>
                <a:gd name="T23" fmla="*/ 321 h 370"/>
                <a:gd name="T24" fmla="*/ 323 w 384"/>
                <a:gd name="T25" fmla="*/ 313 h 370"/>
                <a:gd name="T26" fmla="*/ 312 w 384"/>
                <a:gd name="T27" fmla="*/ 285 h 370"/>
                <a:gd name="T28" fmla="*/ 384 w 384"/>
                <a:gd name="T29" fmla="*/ 277 h 370"/>
                <a:gd name="T30" fmla="*/ 329 w 384"/>
                <a:gd name="T31" fmla="*/ 228 h 370"/>
                <a:gd name="T32" fmla="*/ 312 w 384"/>
                <a:gd name="T33" fmla="*/ 181 h 370"/>
                <a:gd name="T34" fmla="*/ 363 w 384"/>
                <a:gd name="T35" fmla="*/ 109 h 370"/>
                <a:gd name="T36" fmla="*/ 376 w 384"/>
                <a:gd name="T37" fmla="*/ 83 h 370"/>
                <a:gd name="T38" fmla="*/ 350 w 384"/>
                <a:gd name="T39" fmla="*/ 47 h 370"/>
                <a:gd name="T40" fmla="*/ 369 w 384"/>
                <a:gd name="T41" fmla="*/ 30 h 370"/>
                <a:gd name="T42" fmla="*/ 372 w 384"/>
                <a:gd name="T43" fmla="*/ 0 h 370"/>
                <a:gd name="T44" fmla="*/ 306 w 384"/>
                <a:gd name="T45" fmla="*/ 45 h 370"/>
                <a:gd name="T46" fmla="*/ 293 w 384"/>
                <a:gd name="T47" fmla="*/ 81 h 370"/>
                <a:gd name="T48" fmla="*/ 255 w 384"/>
                <a:gd name="T49" fmla="*/ 81 h 370"/>
                <a:gd name="T50" fmla="*/ 223 w 384"/>
                <a:gd name="T51" fmla="*/ 56 h 370"/>
                <a:gd name="T52" fmla="*/ 212 w 384"/>
                <a:gd name="T53" fmla="*/ 77 h 370"/>
                <a:gd name="T54" fmla="*/ 189 w 384"/>
                <a:gd name="T55" fmla="*/ 79 h 370"/>
                <a:gd name="T56" fmla="*/ 189 w 384"/>
                <a:gd name="T57" fmla="*/ 109 h 370"/>
                <a:gd name="T58" fmla="*/ 148 w 384"/>
                <a:gd name="T59" fmla="*/ 75 h 370"/>
                <a:gd name="T60" fmla="*/ 102 w 384"/>
                <a:gd name="T61" fmla="*/ 134 h 370"/>
                <a:gd name="T62" fmla="*/ 108 w 384"/>
                <a:gd name="T63" fmla="*/ 160 h 370"/>
                <a:gd name="T64" fmla="*/ 87 w 384"/>
                <a:gd name="T65" fmla="*/ 143 h 370"/>
                <a:gd name="T66" fmla="*/ 104 w 384"/>
                <a:gd name="T67" fmla="*/ 181 h 370"/>
                <a:gd name="T68" fmla="*/ 46 w 384"/>
                <a:gd name="T69" fmla="*/ 183 h 370"/>
                <a:gd name="T70" fmla="*/ 48 w 384"/>
                <a:gd name="T71" fmla="*/ 198 h 370"/>
                <a:gd name="T72" fmla="*/ 21 w 384"/>
                <a:gd name="T73" fmla="*/ 183 h 370"/>
                <a:gd name="T74" fmla="*/ 0 w 384"/>
                <a:gd name="T75" fmla="*/ 213 h 370"/>
                <a:gd name="T76" fmla="*/ 2 w 384"/>
                <a:gd name="T77" fmla="*/ 23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4" h="370">
                  <a:moveTo>
                    <a:pt x="2" y="230"/>
                  </a:moveTo>
                  <a:lnTo>
                    <a:pt x="4" y="273"/>
                  </a:lnTo>
                  <a:lnTo>
                    <a:pt x="29" y="285"/>
                  </a:lnTo>
                  <a:lnTo>
                    <a:pt x="17" y="319"/>
                  </a:lnTo>
                  <a:lnTo>
                    <a:pt x="42" y="317"/>
                  </a:lnTo>
                  <a:lnTo>
                    <a:pt x="72" y="349"/>
                  </a:lnTo>
                  <a:lnTo>
                    <a:pt x="116" y="341"/>
                  </a:lnTo>
                  <a:lnTo>
                    <a:pt x="144" y="370"/>
                  </a:lnTo>
                  <a:lnTo>
                    <a:pt x="193" y="321"/>
                  </a:lnTo>
                  <a:lnTo>
                    <a:pt x="229" y="343"/>
                  </a:lnTo>
                  <a:lnTo>
                    <a:pt x="253" y="319"/>
                  </a:lnTo>
                  <a:lnTo>
                    <a:pt x="304" y="321"/>
                  </a:lnTo>
                  <a:lnTo>
                    <a:pt x="323" y="313"/>
                  </a:lnTo>
                  <a:lnTo>
                    <a:pt x="312" y="285"/>
                  </a:lnTo>
                  <a:lnTo>
                    <a:pt x="384" y="277"/>
                  </a:lnTo>
                  <a:lnTo>
                    <a:pt x="329" y="228"/>
                  </a:lnTo>
                  <a:lnTo>
                    <a:pt x="312" y="181"/>
                  </a:lnTo>
                  <a:lnTo>
                    <a:pt x="363" y="109"/>
                  </a:lnTo>
                  <a:lnTo>
                    <a:pt x="376" y="83"/>
                  </a:lnTo>
                  <a:lnTo>
                    <a:pt x="350" y="47"/>
                  </a:lnTo>
                  <a:lnTo>
                    <a:pt x="369" y="30"/>
                  </a:lnTo>
                  <a:lnTo>
                    <a:pt x="372" y="0"/>
                  </a:lnTo>
                  <a:lnTo>
                    <a:pt x="306" y="45"/>
                  </a:lnTo>
                  <a:lnTo>
                    <a:pt x="293" y="81"/>
                  </a:lnTo>
                  <a:lnTo>
                    <a:pt x="255" y="81"/>
                  </a:lnTo>
                  <a:lnTo>
                    <a:pt x="223" y="56"/>
                  </a:lnTo>
                  <a:lnTo>
                    <a:pt x="212" y="77"/>
                  </a:lnTo>
                  <a:lnTo>
                    <a:pt x="189" y="79"/>
                  </a:lnTo>
                  <a:lnTo>
                    <a:pt x="189" y="109"/>
                  </a:lnTo>
                  <a:lnTo>
                    <a:pt x="148" y="75"/>
                  </a:lnTo>
                  <a:lnTo>
                    <a:pt x="102" y="134"/>
                  </a:lnTo>
                  <a:lnTo>
                    <a:pt x="108" y="160"/>
                  </a:lnTo>
                  <a:lnTo>
                    <a:pt x="87" y="143"/>
                  </a:lnTo>
                  <a:lnTo>
                    <a:pt x="104" y="181"/>
                  </a:lnTo>
                  <a:lnTo>
                    <a:pt x="46" y="183"/>
                  </a:lnTo>
                  <a:lnTo>
                    <a:pt x="48" y="198"/>
                  </a:lnTo>
                  <a:lnTo>
                    <a:pt x="21" y="183"/>
                  </a:lnTo>
                  <a:lnTo>
                    <a:pt x="0" y="213"/>
                  </a:lnTo>
                  <a:lnTo>
                    <a:pt x="2" y="23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9587FE3E-5A8E-4BB4-920A-59C597B3B9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9217" y="2645659"/>
              <a:ext cx="460632" cy="552759"/>
            </a:xfrm>
            <a:custGeom>
              <a:avLst/>
              <a:gdLst>
                <a:gd name="T0" fmla="*/ 2 w 300"/>
                <a:gd name="T1" fmla="*/ 230 h 360"/>
                <a:gd name="T2" fmla="*/ 6 w 300"/>
                <a:gd name="T3" fmla="*/ 268 h 360"/>
                <a:gd name="T4" fmla="*/ 36 w 300"/>
                <a:gd name="T5" fmla="*/ 285 h 360"/>
                <a:gd name="T6" fmla="*/ 19 w 300"/>
                <a:gd name="T7" fmla="*/ 300 h 360"/>
                <a:gd name="T8" fmla="*/ 64 w 300"/>
                <a:gd name="T9" fmla="*/ 292 h 360"/>
                <a:gd name="T10" fmla="*/ 57 w 300"/>
                <a:gd name="T11" fmla="*/ 309 h 360"/>
                <a:gd name="T12" fmla="*/ 83 w 300"/>
                <a:gd name="T13" fmla="*/ 313 h 360"/>
                <a:gd name="T14" fmla="*/ 104 w 300"/>
                <a:gd name="T15" fmla="*/ 353 h 360"/>
                <a:gd name="T16" fmla="*/ 144 w 300"/>
                <a:gd name="T17" fmla="*/ 360 h 360"/>
                <a:gd name="T18" fmla="*/ 161 w 300"/>
                <a:gd name="T19" fmla="*/ 341 h 360"/>
                <a:gd name="T20" fmla="*/ 183 w 300"/>
                <a:gd name="T21" fmla="*/ 349 h 360"/>
                <a:gd name="T22" fmla="*/ 185 w 300"/>
                <a:gd name="T23" fmla="*/ 341 h 360"/>
                <a:gd name="T24" fmla="*/ 215 w 300"/>
                <a:gd name="T25" fmla="*/ 317 h 360"/>
                <a:gd name="T26" fmla="*/ 268 w 300"/>
                <a:gd name="T27" fmla="*/ 315 h 360"/>
                <a:gd name="T28" fmla="*/ 293 w 300"/>
                <a:gd name="T29" fmla="*/ 283 h 360"/>
                <a:gd name="T30" fmla="*/ 300 w 300"/>
                <a:gd name="T31" fmla="*/ 243 h 360"/>
                <a:gd name="T32" fmla="*/ 285 w 300"/>
                <a:gd name="T33" fmla="*/ 179 h 360"/>
                <a:gd name="T34" fmla="*/ 257 w 300"/>
                <a:gd name="T35" fmla="*/ 175 h 360"/>
                <a:gd name="T36" fmla="*/ 251 w 300"/>
                <a:gd name="T37" fmla="*/ 143 h 360"/>
                <a:gd name="T38" fmla="*/ 208 w 300"/>
                <a:gd name="T39" fmla="*/ 103 h 360"/>
                <a:gd name="T40" fmla="*/ 208 w 300"/>
                <a:gd name="T41" fmla="*/ 39 h 360"/>
                <a:gd name="T42" fmla="*/ 187 w 300"/>
                <a:gd name="T43" fmla="*/ 0 h 360"/>
                <a:gd name="T44" fmla="*/ 144 w 300"/>
                <a:gd name="T45" fmla="*/ 64 h 360"/>
                <a:gd name="T46" fmla="*/ 93 w 300"/>
                <a:gd name="T47" fmla="*/ 54 h 360"/>
                <a:gd name="T48" fmla="*/ 17 w 300"/>
                <a:gd name="T49" fmla="*/ 94 h 360"/>
                <a:gd name="T50" fmla="*/ 53 w 300"/>
                <a:gd name="T51" fmla="*/ 179 h 360"/>
                <a:gd name="T52" fmla="*/ 0 w 300"/>
                <a:gd name="T53" fmla="*/ 230 h 360"/>
                <a:gd name="T54" fmla="*/ 2 w 300"/>
                <a:gd name="T55" fmla="*/ 23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0" h="360">
                  <a:moveTo>
                    <a:pt x="2" y="230"/>
                  </a:moveTo>
                  <a:lnTo>
                    <a:pt x="6" y="268"/>
                  </a:lnTo>
                  <a:lnTo>
                    <a:pt x="36" y="285"/>
                  </a:lnTo>
                  <a:lnTo>
                    <a:pt x="19" y="300"/>
                  </a:lnTo>
                  <a:lnTo>
                    <a:pt x="64" y="292"/>
                  </a:lnTo>
                  <a:lnTo>
                    <a:pt x="57" y="309"/>
                  </a:lnTo>
                  <a:lnTo>
                    <a:pt x="83" y="313"/>
                  </a:lnTo>
                  <a:lnTo>
                    <a:pt x="104" y="353"/>
                  </a:lnTo>
                  <a:lnTo>
                    <a:pt x="144" y="360"/>
                  </a:lnTo>
                  <a:lnTo>
                    <a:pt x="161" y="341"/>
                  </a:lnTo>
                  <a:lnTo>
                    <a:pt x="183" y="349"/>
                  </a:lnTo>
                  <a:lnTo>
                    <a:pt x="185" y="341"/>
                  </a:lnTo>
                  <a:lnTo>
                    <a:pt x="215" y="317"/>
                  </a:lnTo>
                  <a:lnTo>
                    <a:pt x="268" y="315"/>
                  </a:lnTo>
                  <a:lnTo>
                    <a:pt x="293" y="283"/>
                  </a:lnTo>
                  <a:lnTo>
                    <a:pt x="300" y="243"/>
                  </a:lnTo>
                  <a:lnTo>
                    <a:pt x="285" y="179"/>
                  </a:lnTo>
                  <a:lnTo>
                    <a:pt x="257" y="175"/>
                  </a:lnTo>
                  <a:lnTo>
                    <a:pt x="251" y="143"/>
                  </a:lnTo>
                  <a:lnTo>
                    <a:pt x="208" y="103"/>
                  </a:lnTo>
                  <a:lnTo>
                    <a:pt x="208" y="39"/>
                  </a:lnTo>
                  <a:lnTo>
                    <a:pt x="187" y="0"/>
                  </a:lnTo>
                  <a:lnTo>
                    <a:pt x="144" y="64"/>
                  </a:lnTo>
                  <a:lnTo>
                    <a:pt x="93" y="54"/>
                  </a:lnTo>
                  <a:lnTo>
                    <a:pt x="17" y="94"/>
                  </a:lnTo>
                  <a:lnTo>
                    <a:pt x="53" y="179"/>
                  </a:lnTo>
                  <a:lnTo>
                    <a:pt x="0" y="230"/>
                  </a:lnTo>
                  <a:lnTo>
                    <a:pt x="2" y="230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0CB0AFE5-B823-4CD4-A294-270D4F73C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7370" y="3857122"/>
              <a:ext cx="672523" cy="486735"/>
            </a:xfrm>
            <a:custGeom>
              <a:avLst/>
              <a:gdLst>
                <a:gd name="T0" fmla="*/ 4 w 438"/>
                <a:gd name="T1" fmla="*/ 138 h 317"/>
                <a:gd name="T2" fmla="*/ 8 w 438"/>
                <a:gd name="T3" fmla="*/ 164 h 317"/>
                <a:gd name="T4" fmla="*/ 53 w 438"/>
                <a:gd name="T5" fmla="*/ 189 h 317"/>
                <a:gd name="T6" fmla="*/ 74 w 438"/>
                <a:gd name="T7" fmla="*/ 240 h 317"/>
                <a:gd name="T8" fmla="*/ 89 w 438"/>
                <a:gd name="T9" fmla="*/ 247 h 317"/>
                <a:gd name="T10" fmla="*/ 117 w 438"/>
                <a:gd name="T11" fmla="*/ 211 h 317"/>
                <a:gd name="T12" fmla="*/ 134 w 438"/>
                <a:gd name="T13" fmla="*/ 219 h 317"/>
                <a:gd name="T14" fmla="*/ 138 w 438"/>
                <a:gd name="T15" fmla="*/ 204 h 317"/>
                <a:gd name="T16" fmla="*/ 166 w 438"/>
                <a:gd name="T17" fmla="*/ 202 h 317"/>
                <a:gd name="T18" fmla="*/ 176 w 438"/>
                <a:gd name="T19" fmla="*/ 247 h 317"/>
                <a:gd name="T20" fmla="*/ 230 w 438"/>
                <a:gd name="T21" fmla="*/ 268 h 317"/>
                <a:gd name="T22" fmla="*/ 298 w 438"/>
                <a:gd name="T23" fmla="*/ 268 h 317"/>
                <a:gd name="T24" fmla="*/ 302 w 438"/>
                <a:gd name="T25" fmla="*/ 289 h 317"/>
                <a:gd name="T26" fmla="*/ 334 w 438"/>
                <a:gd name="T27" fmla="*/ 283 h 317"/>
                <a:gd name="T28" fmla="*/ 359 w 438"/>
                <a:gd name="T29" fmla="*/ 317 h 317"/>
                <a:gd name="T30" fmla="*/ 361 w 438"/>
                <a:gd name="T31" fmla="*/ 315 h 317"/>
                <a:gd name="T32" fmla="*/ 393 w 438"/>
                <a:gd name="T33" fmla="*/ 296 h 317"/>
                <a:gd name="T34" fmla="*/ 380 w 438"/>
                <a:gd name="T35" fmla="*/ 211 h 317"/>
                <a:gd name="T36" fmla="*/ 412 w 438"/>
                <a:gd name="T37" fmla="*/ 192 h 317"/>
                <a:gd name="T38" fmla="*/ 438 w 438"/>
                <a:gd name="T39" fmla="*/ 175 h 317"/>
                <a:gd name="T40" fmla="*/ 438 w 438"/>
                <a:gd name="T41" fmla="*/ 130 h 317"/>
                <a:gd name="T42" fmla="*/ 372 w 438"/>
                <a:gd name="T43" fmla="*/ 96 h 317"/>
                <a:gd name="T44" fmla="*/ 342 w 438"/>
                <a:gd name="T45" fmla="*/ 21 h 317"/>
                <a:gd name="T46" fmla="*/ 344 w 438"/>
                <a:gd name="T47" fmla="*/ 19 h 317"/>
                <a:gd name="T48" fmla="*/ 300 w 438"/>
                <a:gd name="T49" fmla="*/ 55 h 317"/>
                <a:gd name="T50" fmla="*/ 283 w 438"/>
                <a:gd name="T51" fmla="*/ 30 h 317"/>
                <a:gd name="T52" fmla="*/ 236 w 438"/>
                <a:gd name="T53" fmla="*/ 45 h 317"/>
                <a:gd name="T54" fmla="*/ 191 w 438"/>
                <a:gd name="T55" fmla="*/ 0 h 317"/>
                <a:gd name="T56" fmla="*/ 164 w 438"/>
                <a:gd name="T57" fmla="*/ 2 h 317"/>
                <a:gd name="T58" fmla="*/ 147 w 438"/>
                <a:gd name="T59" fmla="*/ 26 h 317"/>
                <a:gd name="T60" fmla="*/ 110 w 438"/>
                <a:gd name="T61" fmla="*/ 21 h 317"/>
                <a:gd name="T62" fmla="*/ 79 w 438"/>
                <a:gd name="T63" fmla="*/ 49 h 317"/>
                <a:gd name="T64" fmla="*/ 89 w 438"/>
                <a:gd name="T65" fmla="*/ 90 h 317"/>
                <a:gd name="T66" fmla="*/ 25 w 438"/>
                <a:gd name="T67" fmla="*/ 102 h 317"/>
                <a:gd name="T68" fmla="*/ 0 w 438"/>
                <a:gd name="T69" fmla="*/ 136 h 317"/>
                <a:gd name="T70" fmla="*/ 4 w 438"/>
                <a:gd name="T71" fmla="*/ 138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38" h="317">
                  <a:moveTo>
                    <a:pt x="4" y="138"/>
                  </a:moveTo>
                  <a:lnTo>
                    <a:pt x="8" y="164"/>
                  </a:lnTo>
                  <a:lnTo>
                    <a:pt x="53" y="189"/>
                  </a:lnTo>
                  <a:lnTo>
                    <a:pt x="74" y="240"/>
                  </a:lnTo>
                  <a:lnTo>
                    <a:pt x="89" y="247"/>
                  </a:lnTo>
                  <a:lnTo>
                    <a:pt x="117" y="211"/>
                  </a:lnTo>
                  <a:lnTo>
                    <a:pt x="134" y="219"/>
                  </a:lnTo>
                  <a:lnTo>
                    <a:pt x="138" y="204"/>
                  </a:lnTo>
                  <a:lnTo>
                    <a:pt x="166" y="202"/>
                  </a:lnTo>
                  <a:lnTo>
                    <a:pt x="176" y="247"/>
                  </a:lnTo>
                  <a:lnTo>
                    <a:pt x="230" y="268"/>
                  </a:lnTo>
                  <a:lnTo>
                    <a:pt x="298" y="268"/>
                  </a:lnTo>
                  <a:lnTo>
                    <a:pt x="302" y="289"/>
                  </a:lnTo>
                  <a:lnTo>
                    <a:pt x="334" y="283"/>
                  </a:lnTo>
                  <a:lnTo>
                    <a:pt x="359" y="317"/>
                  </a:lnTo>
                  <a:lnTo>
                    <a:pt x="361" y="315"/>
                  </a:lnTo>
                  <a:lnTo>
                    <a:pt x="393" y="296"/>
                  </a:lnTo>
                  <a:lnTo>
                    <a:pt x="380" y="211"/>
                  </a:lnTo>
                  <a:lnTo>
                    <a:pt x="412" y="192"/>
                  </a:lnTo>
                  <a:lnTo>
                    <a:pt x="438" y="175"/>
                  </a:lnTo>
                  <a:lnTo>
                    <a:pt x="438" y="130"/>
                  </a:lnTo>
                  <a:lnTo>
                    <a:pt x="372" y="96"/>
                  </a:lnTo>
                  <a:lnTo>
                    <a:pt x="342" y="21"/>
                  </a:lnTo>
                  <a:lnTo>
                    <a:pt x="344" y="19"/>
                  </a:lnTo>
                  <a:lnTo>
                    <a:pt x="300" y="55"/>
                  </a:lnTo>
                  <a:lnTo>
                    <a:pt x="283" y="30"/>
                  </a:lnTo>
                  <a:lnTo>
                    <a:pt x="236" y="45"/>
                  </a:lnTo>
                  <a:lnTo>
                    <a:pt x="191" y="0"/>
                  </a:lnTo>
                  <a:lnTo>
                    <a:pt x="164" y="2"/>
                  </a:lnTo>
                  <a:lnTo>
                    <a:pt x="147" y="26"/>
                  </a:lnTo>
                  <a:lnTo>
                    <a:pt x="110" y="21"/>
                  </a:lnTo>
                  <a:lnTo>
                    <a:pt x="79" y="49"/>
                  </a:lnTo>
                  <a:lnTo>
                    <a:pt x="89" y="90"/>
                  </a:lnTo>
                  <a:lnTo>
                    <a:pt x="25" y="102"/>
                  </a:lnTo>
                  <a:lnTo>
                    <a:pt x="0" y="136"/>
                  </a:lnTo>
                  <a:lnTo>
                    <a:pt x="4" y="138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BFE4F9FA-DAF4-449D-99AF-F2400C22B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0289" y="4775315"/>
              <a:ext cx="663310" cy="534333"/>
            </a:xfrm>
            <a:custGeom>
              <a:avLst/>
              <a:gdLst>
                <a:gd name="T0" fmla="*/ 4 w 432"/>
                <a:gd name="T1" fmla="*/ 270 h 348"/>
                <a:gd name="T2" fmla="*/ 21 w 432"/>
                <a:gd name="T3" fmla="*/ 295 h 348"/>
                <a:gd name="T4" fmla="*/ 55 w 432"/>
                <a:gd name="T5" fmla="*/ 295 h 348"/>
                <a:gd name="T6" fmla="*/ 70 w 432"/>
                <a:gd name="T7" fmla="*/ 348 h 348"/>
                <a:gd name="T8" fmla="*/ 128 w 432"/>
                <a:gd name="T9" fmla="*/ 346 h 348"/>
                <a:gd name="T10" fmla="*/ 111 w 432"/>
                <a:gd name="T11" fmla="*/ 308 h 348"/>
                <a:gd name="T12" fmla="*/ 132 w 432"/>
                <a:gd name="T13" fmla="*/ 325 h 348"/>
                <a:gd name="T14" fmla="*/ 126 w 432"/>
                <a:gd name="T15" fmla="*/ 299 h 348"/>
                <a:gd name="T16" fmla="*/ 172 w 432"/>
                <a:gd name="T17" fmla="*/ 240 h 348"/>
                <a:gd name="T18" fmla="*/ 213 w 432"/>
                <a:gd name="T19" fmla="*/ 274 h 348"/>
                <a:gd name="T20" fmla="*/ 213 w 432"/>
                <a:gd name="T21" fmla="*/ 244 h 348"/>
                <a:gd name="T22" fmla="*/ 236 w 432"/>
                <a:gd name="T23" fmla="*/ 242 h 348"/>
                <a:gd name="T24" fmla="*/ 247 w 432"/>
                <a:gd name="T25" fmla="*/ 221 h 348"/>
                <a:gd name="T26" fmla="*/ 279 w 432"/>
                <a:gd name="T27" fmla="*/ 246 h 348"/>
                <a:gd name="T28" fmla="*/ 317 w 432"/>
                <a:gd name="T29" fmla="*/ 246 h 348"/>
                <a:gd name="T30" fmla="*/ 330 w 432"/>
                <a:gd name="T31" fmla="*/ 210 h 348"/>
                <a:gd name="T32" fmla="*/ 396 w 432"/>
                <a:gd name="T33" fmla="*/ 165 h 348"/>
                <a:gd name="T34" fmla="*/ 432 w 432"/>
                <a:gd name="T35" fmla="*/ 155 h 348"/>
                <a:gd name="T36" fmla="*/ 413 w 432"/>
                <a:gd name="T37" fmla="*/ 104 h 348"/>
                <a:gd name="T38" fmla="*/ 342 w 432"/>
                <a:gd name="T39" fmla="*/ 76 h 348"/>
                <a:gd name="T40" fmla="*/ 336 w 432"/>
                <a:gd name="T41" fmla="*/ 36 h 348"/>
                <a:gd name="T42" fmla="*/ 319 w 432"/>
                <a:gd name="T43" fmla="*/ 34 h 348"/>
                <a:gd name="T44" fmla="*/ 306 w 432"/>
                <a:gd name="T45" fmla="*/ 2 h 348"/>
                <a:gd name="T46" fmla="*/ 274 w 432"/>
                <a:gd name="T47" fmla="*/ 6 h 348"/>
                <a:gd name="T48" fmla="*/ 262 w 432"/>
                <a:gd name="T49" fmla="*/ 25 h 348"/>
                <a:gd name="T50" fmla="*/ 211 w 432"/>
                <a:gd name="T51" fmla="*/ 0 h 348"/>
                <a:gd name="T52" fmla="*/ 198 w 432"/>
                <a:gd name="T53" fmla="*/ 42 h 348"/>
                <a:gd name="T54" fmla="*/ 228 w 432"/>
                <a:gd name="T55" fmla="*/ 44 h 348"/>
                <a:gd name="T56" fmla="*/ 240 w 432"/>
                <a:gd name="T57" fmla="*/ 97 h 348"/>
                <a:gd name="T58" fmla="*/ 151 w 432"/>
                <a:gd name="T59" fmla="*/ 110 h 348"/>
                <a:gd name="T60" fmla="*/ 98 w 432"/>
                <a:gd name="T61" fmla="*/ 159 h 348"/>
                <a:gd name="T62" fmla="*/ 94 w 432"/>
                <a:gd name="T63" fmla="*/ 178 h 348"/>
                <a:gd name="T64" fmla="*/ 55 w 432"/>
                <a:gd name="T65" fmla="*/ 180 h 348"/>
                <a:gd name="T66" fmla="*/ 45 w 432"/>
                <a:gd name="T67" fmla="*/ 219 h 348"/>
                <a:gd name="T68" fmla="*/ 62 w 432"/>
                <a:gd name="T69" fmla="*/ 233 h 348"/>
                <a:gd name="T70" fmla="*/ 49 w 432"/>
                <a:gd name="T71" fmla="*/ 246 h 348"/>
                <a:gd name="T72" fmla="*/ 9 w 432"/>
                <a:gd name="T73" fmla="*/ 238 h 348"/>
                <a:gd name="T74" fmla="*/ 19 w 432"/>
                <a:gd name="T75" fmla="*/ 263 h 348"/>
                <a:gd name="T76" fmla="*/ 0 w 432"/>
                <a:gd name="T77" fmla="*/ 265 h 348"/>
                <a:gd name="T78" fmla="*/ 4 w 432"/>
                <a:gd name="T79" fmla="*/ 27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32" h="348">
                  <a:moveTo>
                    <a:pt x="4" y="270"/>
                  </a:moveTo>
                  <a:lnTo>
                    <a:pt x="21" y="295"/>
                  </a:lnTo>
                  <a:lnTo>
                    <a:pt x="55" y="295"/>
                  </a:lnTo>
                  <a:lnTo>
                    <a:pt x="70" y="348"/>
                  </a:lnTo>
                  <a:lnTo>
                    <a:pt x="128" y="346"/>
                  </a:lnTo>
                  <a:lnTo>
                    <a:pt x="111" y="308"/>
                  </a:lnTo>
                  <a:lnTo>
                    <a:pt x="132" y="325"/>
                  </a:lnTo>
                  <a:lnTo>
                    <a:pt x="126" y="299"/>
                  </a:lnTo>
                  <a:lnTo>
                    <a:pt x="172" y="240"/>
                  </a:lnTo>
                  <a:lnTo>
                    <a:pt x="213" y="274"/>
                  </a:lnTo>
                  <a:lnTo>
                    <a:pt x="213" y="244"/>
                  </a:lnTo>
                  <a:lnTo>
                    <a:pt x="236" y="242"/>
                  </a:lnTo>
                  <a:lnTo>
                    <a:pt x="247" y="221"/>
                  </a:lnTo>
                  <a:lnTo>
                    <a:pt x="279" y="246"/>
                  </a:lnTo>
                  <a:lnTo>
                    <a:pt x="317" y="246"/>
                  </a:lnTo>
                  <a:lnTo>
                    <a:pt x="330" y="210"/>
                  </a:lnTo>
                  <a:lnTo>
                    <a:pt x="396" y="165"/>
                  </a:lnTo>
                  <a:lnTo>
                    <a:pt x="432" y="155"/>
                  </a:lnTo>
                  <a:lnTo>
                    <a:pt x="413" y="104"/>
                  </a:lnTo>
                  <a:lnTo>
                    <a:pt x="342" y="76"/>
                  </a:lnTo>
                  <a:lnTo>
                    <a:pt x="336" y="36"/>
                  </a:lnTo>
                  <a:lnTo>
                    <a:pt x="319" y="34"/>
                  </a:lnTo>
                  <a:lnTo>
                    <a:pt x="306" y="2"/>
                  </a:lnTo>
                  <a:lnTo>
                    <a:pt x="274" y="6"/>
                  </a:lnTo>
                  <a:lnTo>
                    <a:pt x="262" y="25"/>
                  </a:lnTo>
                  <a:lnTo>
                    <a:pt x="211" y="0"/>
                  </a:lnTo>
                  <a:lnTo>
                    <a:pt x="198" y="42"/>
                  </a:lnTo>
                  <a:lnTo>
                    <a:pt x="228" y="44"/>
                  </a:lnTo>
                  <a:lnTo>
                    <a:pt x="240" y="97"/>
                  </a:lnTo>
                  <a:lnTo>
                    <a:pt x="151" y="110"/>
                  </a:lnTo>
                  <a:lnTo>
                    <a:pt x="98" y="159"/>
                  </a:lnTo>
                  <a:lnTo>
                    <a:pt x="94" y="178"/>
                  </a:lnTo>
                  <a:lnTo>
                    <a:pt x="55" y="180"/>
                  </a:lnTo>
                  <a:lnTo>
                    <a:pt x="45" y="219"/>
                  </a:lnTo>
                  <a:lnTo>
                    <a:pt x="62" y="233"/>
                  </a:lnTo>
                  <a:lnTo>
                    <a:pt x="49" y="246"/>
                  </a:lnTo>
                  <a:lnTo>
                    <a:pt x="9" y="238"/>
                  </a:lnTo>
                  <a:lnTo>
                    <a:pt x="19" y="263"/>
                  </a:lnTo>
                  <a:lnTo>
                    <a:pt x="0" y="265"/>
                  </a:lnTo>
                  <a:lnTo>
                    <a:pt x="4" y="27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23D61737-D23C-4CE6-9DB7-5381ABA516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6822" y="1970065"/>
              <a:ext cx="495948" cy="518979"/>
            </a:xfrm>
            <a:custGeom>
              <a:avLst/>
              <a:gdLst>
                <a:gd name="T0" fmla="*/ 0 w 323"/>
                <a:gd name="T1" fmla="*/ 200 h 338"/>
                <a:gd name="T2" fmla="*/ 6 w 323"/>
                <a:gd name="T3" fmla="*/ 275 h 338"/>
                <a:gd name="T4" fmla="*/ 38 w 323"/>
                <a:gd name="T5" fmla="*/ 277 h 338"/>
                <a:gd name="T6" fmla="*/ 100 w 323"/>
                <a:gd name="T7" fmla="*/ 324 h 338"/>
                <a:gd name="T8" fmla="*/ 127 w 323"/>
                <a:gd name="T9" fmla="*/ 315 h 338"/>
                <a:gd name="T10" fmla="*/ 149 w 323"/>
                <a:gd name="T11" fmla="*/ 338 h 338"/>
                <a:gd name="T12" fmla="*/ 223 w 323"/>
                <a:gd name="T13" fmla="*/ 334 h 338"/>
                <a:gd name="T14" fmla="*/ 244 w 323"/>
                <a:gd name="T15" fmla="*/ 321 h 338"/>
                <a:gd name="T16" fmla="*/ 257 w 323"/>
                <a:gd name="T17" fmla="*/ 279 h 338"/>
                <a:gd name="T18" fmla="*/ 244 w 323"/>
                <a:gd name="T19" fmla="*/ 236 h 338"/>
                <a:gd name="T20" fmla="*/ 255 w 323"/>
                <a:gd name="T21" fmla="*/ 209 h 338"/>
                <a:gd name="T22" fmla="*/ 295 w 323"/>
                <a:gd name="T23" fmla="*/ 221 h 338"/>
                <a:gd name="T24" fmla="*/ 323 w 323"/>
                <a:gd name="T25" fmla="*/ 194 h 338"/>
                <a:gd name="T26" fmla="*/ 306 w 323"/>
                <a:gd name="T27" fmla="*/ 196 h 338"/>
                <a:gd name="T28" fmla="*/ 293 w 323"/>
                <a:gd name="T29" fmla="*/ 166 h 338"/>
                <a:gd name="T30" fmla="*/ 270 w 323"/>
                <a:gd name="T31" fmla="*/ 166 h 338"/>
                <a:gd name="T32" fmla="*/ 227 w 323"/>
                <a:gd name="T33" fmla="*/ 130 h 338"/>
                <a:gd name="T34" fmla="*/ 195 w 323"/>
                <a:gd name="T35" fmla="*/ 134 h 338"/>
                <a:gd name="T36" fmla="*/ 202 w 323"/>
                <a:gd name="T37" fmla="*/ 90 h 338"/>
                <a:gd name="T38" fmla="*/ 178 w 323"/>
                <a:gd name="T39" fmla="*/ 64 h 338"/>
                <a:gd name="T40" fmla="*/ 197 w 323"/>
                <a:gd name="T41" fmla="*/ 0 h 338"/>
                <a:gd name="T42" fmla="*/ 155 w 323"/>
                <a:gd name="T43" fmla="*/ 22 h 338"/>
                <a:gd name="T44" fmla="*/ 155 w 323"/>
                <a:gd name="T45" fmla="*/ 58 h 338"/>
                <a:gd name="T46" fmla="*/ 97 w 323"/>
                <a:gd name="T47" fmla="*/ 81 h 338"/>
                <a:gd name="T48" fmla="*/ 46 w 323"/>
                <a:gd name="T49" fmla="*/ 75 h 338"/>
                <a:gd name="T50" fmla="*/ 46 w 323"/>
                <a:gd name="T51" fmla="*/ 158 h 338"/>
                <a:gd name="T52" fmla="*/ 0 w 323"/>
                <a:gd name="T53" fmla="*/ 196 h 338"/>
                <a:gd name="T54" fmla="*/ 0 w 323"/>
                <a:gd name="T55" fmla="*/ 20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23" h="338">
                  <a:moveTo>
                    <a:pt x="0" y="200"/>
                  </a:moveTo>
                  <a:lnTo>
                    <a:pt x="6" y="275"/>
                  </a:lnTo>
                  <a:lnTo>
                    <a:pt x="38" y="277"/>
                  </a:lnTo>
                  <a:lnTo>
                    <a:pt x="100" y="324"/>
                  </a:lnTo>
                  <a:lnTo>
                    <a:pt x="127" y="315"/>
                  </a:lnTo>
                  <a:lnTo>
                    <a:pt x="149" y="338"/>
                  </a:lnTo>
                  <a:lnTo>
                    <a:pt x="223" y="334"/>
                  </a:lnTo>
                  <a:lnTo>
                    <a:pt x="244" y="321"/>
                  </a:lnTo>
                  <a:lnTo>
                    <a:pt x="257" y="279"/>
                  </a:lnTo>
                  <a:lnTo>
                    <a:pt x="244" y="236"/>
                  </a:lnTo>
                  <a:lnTo>
                    <a:pt x="255" y="209"/>
                  </a:lnTo>
                  <a:lnTo>
                    <a:pt x="295" y="221"/>
                  </a:lnTo>
                  <a:lnTo>
                    <a:pt x="323" y="194"/>
                  </a:lnTo>
                  <a:lnTo>
                    <a:pt x="306" y="196"/>
                  </a:lnTo>
                  <a:lnTo>
                    <a:pt x="293" y="166"/>
                  </a:lnTo>
                  <a:lnTo>
                    <a:pt x="270" y="166"/>
                  </a:lnTo>
                  <a:lnTo>
                    <a:pt x="227" y="130"/>
                  </a:lnTo>
                  <a:lnTo>
                    <a:pt x="195" y="134"/>
                  </a:lnTo>
                  <a:lnTo>
                    <a:pt x="202" y="90"/>
                  </a:lnTo>
                  <a:lnTo>
                    <a:pt x="178" y="64"/>
                  </a:lnTo>
                  <a:lnTo>
                    <a:pt x="197" y="0"/>
                  </a:lnTo>
                  <a:lnTo>
                    <a:pt x="155" y="22"/>
                  </a:lnTo>
                  <a:lnTo>
                    <a:pt x="155" y="58"/>
                  </a:lnTo>
                  <a:lnTo>
                    <a:pt x="97" y="81"/>
                  </a:lnTo>
                  <a:lnTo>
                    <a:pt x="46" y="75"/>
                  </a:lnTo>
                  <a:lnTo>
                    <a:pt x="46" y="158"/>
                  </a:lnTo>
                  <a:lnTo>
                    <a:pt x="0" y="196"/>
                  </a:lnTo>
                  <a:lnTo>
                    <a:pt x="0" y="200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79963E6D-7DDC-4650-99A2-BA1C83EBA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052" y="5810203"/>
              <a:ext cx="551224" cy="417640"/>
            </a:xfrm>
            <a:custGeom>
              <a:avLst/>
              <a:gdLst>
                <a:gd name="T0" fmla="*/ 0 w 359"/>
                <a:gd name="T1" fmla="*/ 140 h 272"/>
                <a:gd name="T2" fmla="*/ 40 w 359"/>
                <a:gd name="T3" fmla="*/ 119 h 272"/>
                <a:gd name="T4" fmla="*/ 45 w 359"/>
                <a:gd name="T5" fmla="*/ 72 h 272"/>
                <a:gd name="T6" fmla="*/ 64 w 359"/>
                <a:gd name="T7" fmla="*/ 57 h 272"/>
                <a:gd name="T8" fmla="*/ 119 w 359"/>
                <a:gd name="T9" fmla="*/ 76 h 272"/>
                <a:gd name="T10" fmla="*/ 130 w 359"/>
                <a:gd name="T11" fmla="*/ 65 h 272"/>
                <a:gd name="T12" fmla="*/ 111 w 359"/>
                <a:gd name="T13" fmla="*/ 42 h 272"/>
                <a:gd name="T14" fmla="*/ 151 w 359"/>
                <a:gd name="T15" fmla="*/ 29 h 272"/>
                <a:gd name="T16" fmla="*/ 128 w 359"/>
                <a:gd name="T17" fmla="*/ 12 h 272"/>
                <a:gd name="T18" fmla="*/ 136 w 359"/>
                <a:gd name="T19" fmla="*/ 0 h 272"/>
                <a:gd name="T20" fmla="*/ 174 w 359"/>
                <a:gd name="T21" fmla="*/ 36 h 272"/>
                <a:gd name="T22" fmla="*/ 183 w 359"/>
                <a:gd name="T23" fmla="*/ 6 h 272"/>
                <a:gd name="T24" fmla="*/ 221 w 359"/>
                <a:gd name="T25" fmla="*/ 27 h 272"/>
                <a:gd name="T26" fmla="*/ 234 w 359"/>
                <a:gd name="T27" fmla="*/ 14 h 272"/>
                <a:gd name="T28" fmla="*/ 240 w 359"/>
                <a:gd name="T29" fmla="*/ 44 h 272"/>
                <a:gd name="T30" fmla="*/ 302 w 359"/>
                <a:gd name="T31" fmla="*/ 70 h 272"/>
                <a:gd name="T32" fmla="*/ 313 w 359"/>
                <a:gd name="T33" fmla="*/ 104 h 272"/>
                <a:gd name="T34" fmla="*/ 317 w 359"/>
                <a:gd name="T35" fmla="*/ 131 h 272"/>
                <a:gd name="T36" fmla="*/ 298 w 359"/>
                <a:gd name="T37" fmla="*/ 138 h 272"/>
                <a:gd name="T38" fmla="*/ 313 w 359"/>
                <a:gd name="T39" fmla="*/ 161 h 272"/>
                <a:gd name="T40" fmla="*/ 276 w 359"/>
                <a:gd name="T41" fmla="*/ 180 h 272"/>
                <a:gd name="T42" fmla="*/ 302 w 359"/>
                <a:gd name="T43" fmla="*/ 212 h 272"/>
                <a:gd name="T44" fmla="*/ 336 w 359"/>
                <a:gd name="T45" fmla="*/ 206 h 272"/>
                <a:gd name="T46" fmla="*/ 359 w 359"/>
                <a:gd name="T47" fmla="*/ 240 h 272"/>
                <a:gd name="T48" fmla="*/ 315 w 359"/>
                <a:gd name="T49" fmla="*/ 240 h 272"/>
                <a:gd name="T50" fmla="*/ 255 w 359"/>
                <a:gd name="T51" fmla="*/ 272 h 272"/>
                <a:gd name="T52" fmla="*/ 196 w 359"/>
                <a:gd name="T53" fmla="*/ 240 h 272"/>
                <a:gd name="T54" fmla="*/ 162 w 359"/>
                <a:gd name="T55" fmla="*/ 257 h 272"/>
                <a:gd name="T56" fmla="*/ 140 w 359"/>
                <a:gd name="T57" fmla="*/ 214 h 272"/>
                <a:gd name="T58" fmla="*/ 91 w 359"/>
                <a:gd name="T59" fmla="*/ 216 h 272"/>
                <a:gd name="T60" fmla="*/ 66 w 359"/>
                <a:gd name="T61" fmla="*/ 187 h 272"/>
                <a:gd name="T62" fmla="*/ 6 w 359"/>
                <a:gd name="T63" fmla="*/ 170 h 272"/>
                <a:gd name="T64" fmla="*/ 0 w 359"/>
                <a:gd name="T65" fmla="*/ 142 h 272"/>
                <a:gd name="T66" fmla="*/ 0 w 359"/>
                <a:gd name="T67" fmla="*/ 14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9" h="272">
                  <a:moveTo>
                    <a:pt x="0" y="140"/>
                  </a:moveTo>
                  <a:lnTo>
                    <a:pt x="40" y="119"/>
                  </a:lnTo>
                  <a:lnTo>
                    <a:pt x="45" y="72"/>
                  </a:lnTo>
                  <a:lnTo>
                    <a:pt x="64" y="57"/>
                  </a:lnTo>
                  <a:lnTo>
                    <a:pt x="119" y="76"/>
                  </a:lnTo>
                  <a:lnTo>
                    <a:pt x="130" y="65"/>
                  </a:lnTo>
                  <a:lnTo>
                    <a:pt x="111" y="42"/>
                  </a:lnTo>
                  <a:lnTo>
                    <a:pt x="151" y="29"/>
                  </a:lnTo>
                  <a:lnTo>
                    <a:pt x="128" y="12"/>
                  </a:lnTo>
                  <a:lnTo>
                    <a:pt x="136" y="0"/>
                  </a:lnTo>
                  <a:lnTo>
                    <a:pt x="174" y="36"/>
                  </a:lnTo>
                  <a:lnTo>
                    <a:pt x="183" y="6"/>
                  </a:lnTo>
                  <a:lnTo>
                    <a:pt x="221" y="27"/>
                  </a:lnTo>
                  <a:lnTo>
                    <a:pt x="234" y="14"/>
                  </a:lnTo>
                  <a:lnTo>
                    <a:pt x="240" y="44"/>
                  </a:lnTo>
                  <a:lnTo>
                    <a:pt x="302" y="70"/>
                  </a:lnTo>
                  <a:lnTo>
                    <a:pt x="313" y="104"/>
                  </a:lnTo>
                  <a:lnTo>
                    <a:pt x="317" y="131"/>
                  </a:lnTo>
                  <a:lnTo>
                    <a:pt x="298" y="138"/>
                  </a:lnTo>
                  <a:lnTo>
                    <a:pt x="313" y="161"/>
                  </a:lnTo>
                  <a:lnTo>
                    <a:pt x="276" y="180"/>
                  </a:lnTo>
                  <a:lnTo>
                    <a:pt x="302" y="212"/>
                  </a:lnTo>
                  <a:lnTo>
                    <a:pt x="336" y="206"/>
                  </a:lnTo>
                  <a:lnTo>
                    <a:pt x="359" y="240"/>
                  </a:lnTo>
                  <a:lnTo>
                    <a:pt x="315" y="240"/>
                  </a:lnTo>
                  <a:lnTo>
                    <a:pt x="255" y="272"/>
                  </a:lnTo>
                  <a:lnTo>
                    <a:pt x="196" y="240"/>
                  </a:lnTo>
                  <a:lnTo>
                    <a:pt x="162" y="257"/>
                  </a:lnTo>
                  <a:lnTo>
                    <a:pt x="140" y="214"/>
                  </a:lnTo>
                  <a:lnTo>
                    <a:pt x="91" y="216"/>
                  </a:lnTo>
                  <a:lnTo>
                    <a:pt x="66" y="187"/>
                  </a:lnTo>
                  <a:lnTo>
                    <a:pt x="6" y="170"/>
                  </a:lnTo>
                  <a:lnTo>
                    <a:pt x="0" y="142"/>
                  </a:lnTo>
                  <a:lnTo>
                    <a:pt x="0" y="1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3" name="Freeform 46">
              <a:extLst>
                <a:ext uri="{FF2B5EF4-FFF2-40B4-BE49-F238E27FC236}">
                  <a16:creationId xmlns:a16="http://schemas.microsoft.com/office/drawing/2014/main" id="{99F73A5E-16D4-410B-B753-B7BABB367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1899" y="2780778"/>
              <a:ext cx="551224" cy="443743"/>
            </a:xfrm>
            <a:custGeom>
              <a:avLst/>
              <a:gdLst>
                <a:gd name="T0" fmla="*/ 4 w 359"/>
                <a:gd name="T1" fmla="*/ 97 h 289"/>
                <a:gd name="T2" fmla="*/ 6 w 359"/>
                <a:gd name="T3" fmla="*/ 119 h 289"/>
                <a:gd name="T4" fmla="*/ 59 w 359"/>
                <a:gd name="T5" fmla="*/ 168 h 289"/>
                <a:gd name="T6" fmla="*/ 46 w 359"/>
                <a:gd name="T7" fmla="*/ 193 h 289"/>
                <a:gd name="T8" fmla="*/ 70 w 359"/>
                <a:gd name="T9" fmla="*/ 210 h 289"/>
                <a:gd name="T10" fmla="*/ 87 w 359"/>
                <a:gd name="T11" fmla="*/ 199 h 289"/>
                <a:gd name="T12" fmla="*/ 112 w 359"/>
                <a:gd name="T13" fmla="*/ 268 h 289"/>
                <a:gd name="T14" fmla="*/ 127 w 359"/>
                <a:gd name="T15" fmla="*/ 265 h 289"/>
                <a:gd name="T16" fmla="*/ 125 w 359"/>
                <a:gd name="T17" fmla="*/ 289 h 289"/>
                <a:gd name="T18" fmla="*/ 180 w 359"/>
                <a:gd name="T19" fmla="*/ 287 h 289"/>
                <a:gd name="T20" fmla="*/ 199 w 359"/>
                <a:gd name="T21" fmla="*/ 272 h 289"/>
                <a:gd name="T22" fmla="*/ 223 w 359"/>
                <a:gd name="T23" fmla="*/ 289 h 289"/>
                <a:gd name="T24" fmla="*/ 229 w 359"/>
                <a:gd name="T25" fmla="*/ 276 h 289"/>
                <a:gd name="T26" fmla="*/ 287 w 359"/>
                <a:gd name="T27" fmla="*/ 272 h 289"/>
                <a:gd name="T28" fmla="*/ 293 w 359"/>
                <a:gd name="T29" fmla="*/ 251 h 289"/>
                <a:gd name="T30" fmla="*/ 323 w 359"/>
                <a:gd name="T31" fmla="*/ 253 h 289"/>
                <a:gd name="T32" fmla="*/ 312 w 359"/>
                <a:gd name="T33" fmla="*/ 231 h 289"/>
                <a:gd name="T34" fmla="*/ 355 w 359"/>
                <a:gd name="T35" fmla="*/ 221 h 289"/>
                <a:gd name="T36" fmla="*/ 359 w 359"/>
                <a:gd name="T37" fmla="*/ 163 h 289"/>
                <a:gd name="T38" fmla="*/ 353 w 359"/>
                <a:gd name="T39" fmla="*/ 136 h 289"/>
                <a:gd name="T40" fmla="*/ 304 w 359"/>
                <a:gd name="T41" fmla="*/ 93 h 289"/>
                <a:gd name="T42" fmla="*/ 302 w 359"/>
                <a:gd name="T43" fmla="*/ 91 h 289"/>
                <a:gd name="T44" fmla="*/ 310 w 359"/>
                <a:gd name="T45" fmla="*/ 66 h 289"/>
                <a:gd name="T46" fmla="*/ 246 w 359"/>
                <a:gd name="T47" fmla="*/ 57 h 289"/>
                <a:gd name="T48" fmla="*/ 225 w 359"/>
                <a:gd name="T49" fmla="*/ 38 h 289"/>
                <a:gd name="T50" fmla="*/ 221 w 359"/>
                <a:gd name="T51" fmla="*/ 0 h 289"/>
                <a:gd name="T52" fmla="*/ 168 w 359"/>
                <a:gd name="T53" fmla="*/ 6 h 289"/>
                <a:gd name="T54" fmla="*/ 106 w 359"/>
                <a:gd name="T55" fmla="*/ 74 h 289"/>
                <a:gd name="T56" fmla="*/ 61 w 359"/>
                <a:gd name="T57" fmla="*/ 66 h 289"/>
                <a:gd name="T58" fmla="*/ 40 w 359"/>
                <a:gd name="T59" fmla="*/ 38 h 289"/>
                <a:gd name="T60" fmla="*/ 0 w 359"/>
                <a:gd name="T61" fmla="*/ 87 h 289"/>
                <a:gd name="T62" fmla="*/ 4 w 359"/>
                <a:gd name="T63" fmla="*/ 97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59" h="289">
                  <a:moveTo>
                    <a:pt x="4" y="97"/>
                  </a:moveTo>
                  <a:lnTo>
                    <a:pt x="6" y="119"/>
                  </a:lnTo>
                  <a:lnTo>
                    <a:pt x="59" y="168"/>
                  </a:lnTo>
                  <a:lnTo>
                    <a:pt x="46" y="193"/>
                  </a:lnTo>
                  <a:lnTo>
                    <a:pt x="70" y="210"/>
                  </a:lnTo>
                  <a:lnTo>
                    <a:pt x="87" y="199"/>
                  </a:lnTo>
                  <a:lnTo>
                    <a:pt x="112" y="268"/>
                  </a:lnTo>
                  <a:lnTo>
                    <a:pt x="127" y="265"/>
                  </a:lnTo>
                  <a:lnTo>
                    <a:pt x="125" y="289"/>
                  </a:lnTo>
                  <a:lnTo>
                    <a:pt x="180" y="287"/>
                  </a:lnTo>
                  <a:lnTo>
                    <a:pt x="199" y="272"/>
                  </a:lnTo>
                  <a:lnTo>
                    <a:pt x="223" y="289"/>
                  </a:lnTo>
                  <a:lnTo>
                    <a:pt x="229" y="276"/>
                  </a:lnTo>
                  <a:lnTo>
                    <a:pt x="287" y="272"/>
                  </a:lnTo>
                  <a:lnTo>
                    <a:pt x="293" y="251"/>
                  </a:lnTo>
                  <a:lnTo>
                    <a:pt x="323" y="253"/>
                  </a:lnTo>
                  <a:lnTo>
                    <a:pt x="312" y="231"/>
                  </a:lnTo>
                  <a:lnTo>
                    <a:pt x="355" y="221"/>
                  </a:lnTo>
                  <a:lnTo>
                    <a:pt x="359" y="163"/>
                  </a:lnTo>
                  <a:lnTo>
                    <a:pt x="353" y="136"/>
                  </a:lnTo>
                  <a:lnTo>
                    <a:pt x="304" y="93"/>
                  </a:lnTo>
                  <a:lnTo>
                    <a:pt x="302" y="91"/>
                  </a:lnTo>
                  <a:lnTo>
                    <a:pt x="310" y="66"/>
                  </a:lnTo>
                  <a:lnTo>
                    <a:pt x="246" y="57"/>
                  </a:lnTo>
                  <a:lnTo>
                    <a:pt x="225" y="38"/>
                  </a:lnTo>
                  <a:lnTo>
                    <a:pt x="221" y="0"/>
                  </a:lnTo>
                  <a:lnTo>
                    <a:pt x="168" y="6"/>
                  </a:lnTo>
                  <a:lnTo>
                    <a:pt x="106" y="74"/>
                  </a:lnTo>
                  <a:lnTo>
                    <a:pt x="61" y="66"/>
                  </a:lnTo>
                  <a:lnTo>
                    <a:pt x="40" y="38"/>
                  </a:lnTo>
                  <a:lnTo>
                    <a:pt x="0" y="87"/>
                  </a:lnTo>
                  <a:lnTo>
                    <a:pt x="4" y="9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4" name="Freeform 47">
              <a:extLst>
                <a:ext uri="{FF2B5EF4-FFF2-40B4-BE49-F238E27FC236}">
                  <a16:creationId xmlns:a16="http://schemas.microsoft.com/office/drawing/2014/main" id="{08AB37FF-E720-4720-A6B9-3E86D3A7D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4902757"/>
              <a:ext cx="643350" cy="697090"/>
            </a:xfrm>
            <a:custGeom>
              <a:avLst/>
              <a:gdLst>
                <a:gd name="T0" fmla="*/ 0 w 419"/>
                <a:gd name="T1" fmla="*/ 170 h 454"/>
                <a:gd name="T2" fmla="*/ 6 w 419"/>
                <a:gd name="T3" fmla="*/ 216 h 454"/>
                <a:gd name="T4" fmla="*/ 4 w 419"/>
                <a:gd name="T5" fmla="*/ 233 h 454"/>
                <a:gd name="T6" fmla="*/ 30 w 419"/>
                <a:gd name="T7" fmla="*/ 238 h 454"/>
                <a:gd name="T8" fmla="*/ 8 w 419"/>
                <a:gd name="T9" fmla="*/ 263 h 454"/>
                <a:gd name="T10" fmla="*/ 36 w 419"/>
                <a:gd name="T11" fmla="*/ 284 h 454"/>
                <a:gd name="T12" fmla="*/ 76 w 419"/>
                <a:gd name="T13" fmla="*/ 267 h 454"/>
                <a:gd name="T14" fmla="*/ 98 w 419"/>
                <a:gd name="T15" fmla="*/ 282 h 454"/>
                <a:gd name="T16" fmla="*/ 87 w 419"/>
                <a:gd name="T17" fmla="*/ 291 h 454"/>
                <a:gd name="T18" fmla="*/ 125 w 419"/>
                <a:gd name="T19" fmla="*/ 295 h 454"/>
                <a:gd name="T20" fmla="*/ 168 w 419"/>
                <a:gd name="T21" fmla="*/ 338 h 454"/>
                <a:gd name="T22" fmla="*/ 202 w 419"/>
                <a:gd name="T23" fmla="*/ 423 h 454"/>
                <a:gd name="T24" fmla="*/ 232 w 419"/>
                <a:gd name="T25" fmla="*/ 442 h 454"/>
                <a:gd name="T26" fmla="*/ 274 w 419"/>
                <a:gd name="T27" fmla="*/ 437 h 454"/>
                <a:gd name="T28" fmla="*/ 283 w 419"/>
                <a:gd name="T29" fmla="*/ 454 h 454"/>
                <a:gd name="T30" fmla="*/ 315 w 419"/>
                <a:gd name="T31" fmla="*/ 454 h 454"/>
                <a:gd name="T32" fmla="*/ 317 w 419"/>
                <a:gd name="T33" fmla="*/ 403 h 454"/>
                <a:gd name="T34" fmla="*/ 359 w 419"/>
                <a:gd name="T35" fmla="*/ 410 h 454"/>
                <a:gd name="T36" fmla="*/ 370 w 419"/>
                <a:gd name="T37" fmla="*/ 382 h 454"/>
                <a:gd name="T38" fmla="*/ 395 w 419"/>
                <a:gd name="T39" fmla="*/ 376 h 454"/>
                <a:gd name="T40" fmla="*/ 419 w 419"/>
                <a:gd name="T41" fmla="*/ 338 h 454"/>
                <a:gd name="T42" fmla="*/ 370 w 419"/>
                <a:gd name="T43" fmla="*/ 310 h 454"/>
                <a:gd name="T44" fmla="*/ 372 w 419"/>
                <a:gd name="T45" fmla="*/ 308 h 454"/>
                <a:gd name="T46" fmla="*/ 397 w 419"/>
                <a:gd name="T47" fmla="*/ 282 h 454"/>
                <a:gd name="T48" fmla="*/ 353 w 419"/>
                <a:gd name="T49" fmla="*/ 274 h 454"/>
                <a:gd name="T50" fmla="*/ 359 w 419"/>
                <a:gd name="T51" fmla="*/ 259 h 454"/>
                <a:gd name="T52" fmla="*/ 332 w 419"/>
                <a:gd name="T53" fmla="*/ 248 h 454"/>
                <a:gd name="T54" fmla="*/ 338 w 419"/>
                <a:gd name="T55" fmla="*/ 182 h 454"/>
                <a:gd name="T56" fmla="*/ 295 w 419"/>
                <a:gd name="T57" fmla="*/ 108 h 454"/>
                <a:gd name="T58" fmla="*/ 285 w 419"/>
                <a:gd name="T59" fmla="*/ 57 h 454"/>
                <a:gd name="T60" fmla="*/ 266 w 419"/>
                <a:gd name="T61" fmla="*/ 23 h 454"/>
                <a:gd name="T62" fmla="*/ 242 w 419"/>
                <a:gd name="T63" fmla="*/ 27 h 454"/>
                <a:gd name="T64" fmla="*/ 234 w 419"/>
                <a:gd name="T65" fmla="*/ 0 h 454"/>
                <a:gd name="T66" fmla="*/ 200 w 419"/>
                <a:gd name="T67" fmla="*/ 31 h 454"/>
                <a:gd name="T68" fmla="*/ 166 w 419"/>
                <a:gd name="T69" fmla="*/ 104 h 454"/>
                <a:gd name="T70" fmla="*/ 125 w 419"/>
                <a:gd name="T71" fmla="*/ 97 h 454"/>
                <a:gd name="T72" fmla="*/ 96 w 419"/>
                <a:gd name="T73" fmla="*/ 114 h 454"/>
                <a:gd name="T74" fmla="*/ 0 w 419"/>
                <a:gd name="T75" fmla="*/ 163 h 454"/>
                <a:gd name="T76" fmla="*/ 0 w 419"/>
                <a:gd name="T77" fmla="*/ 17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9" h="454">
                  <a:moveTo>
                    <a:pt x="0" y="170"/>
                  </a:moveTo>
                  <a:lnTo>
                    <a:pt x="6" y="216"/>
                  </a:lnTo>
                  <a:lnTo>
                    <a:pt x="4" y="233"/>
                  </a:lnTo>
                  <a:lnTo>
                    <a:pt x="30" y="238"/>
                  </a:lnTo>
                  <a:lnTo>
                    <a:pt x="8" y="263"/>
                  </a:lnTo>
                  <a:lnTo>
                    <a:pt x="36" y="284"/>
                  </a:lnTo>
                  <a:lnTo>
                    <a:pt x="76" y="267"/>
                  </a:lnTo>
                  <a:lnTo>
                    <a:pt x="98" y="282"/>
                  </a:lnTo>
                  <a:lnTo>
                    <a:pt x="87" y="291"/>
                  </a:lnTo>
                  <a:lnTo>
                    <a:pt x="125" y="295"/>
                  </a:lnTo>
                  <a:lnTo>
                    <a:pt x="168" y="338"/>
                  </a:lnTo>
                  <a:lnTo>
                    <a:pt x="202" y="423"/>
                  </a:lnTo>
                  <a:lnTo>
                    <a:pt x="232" y="442"/>
                  </a:lnTo>
                  <a:lnTo>
                    <a:pt x="274" y="437"/>
                  </a:lnTo>
                  <a:lnTo>
                    <a:pt x="283" y="454"/>
                  </a:lnTo>
                  <a:lnTo>
                    <a:pt x="315" y="454"/>
                  </a:lnTo>
                  <a:lnTo>
                    <a:pt x="317" y="403"/>
                  </a:lnTo>
                  <a:lnTo>
                    <a:pt x="359" y="410"/>
                  </a:lnTo>
                  <a:lnTo>
                    <a:pt x="370" y="382"/>
                  </a:lnTo>
                  <a:lnTo>
                    <a:pt x="395" y="376"/>
                  </a:lnTo>
                  <a:lnTo>
                    <a:pt x="419" y="338"/>
                  </a:lnTo>
                  <a:lnTo>
                    <a:pt x="370" y="310"/>
                  </a:lnTo>
                  <a:lnTo>
                    <a:pt x="372" y="308"/>
                  </a:lnTo>
                  <a:lnTo>
                    <a:pt x="397" y="282"/>
                  </a:lnTo>
                  <a:lnTo>
                    <a:pt x="353" y="274"/>
                  </a:lnTo>
                  <a:lnTo>
                    <a:pt x="359" y="259"/>
                  </a:lnTo>
                  <a:lnTo>
                    <a:pt x="332" y="248"/>
                  </a:lnTo>
                  <a:lnTo>
                    <a:pt x="338" y="182"/>
                  </a:lnTo>
                  <a:lnTo>
                    <a:pt x="295" y="108"/>
                  </a:lnTo>
                  <a:lnTo>
                    <a:pt x="285" y="57"/>
                  </a:lnTo>
                  <a:lnTo>
                    <a:pt x="266" y="23"/>
                  </a:lnTo>
                  <a:lnTo>
                    <a:pt x="242" y="27"/>
                  </a:lnTo>
                  <a:lnTo>
                    <a:pt x="234" y="0"/>
                  </a:lnTo>
                  <a:lnTo>
                    <a:pt x="200" y="31"/>
                  </a:lnTo>
                  <a:lnTo>
                    <a:pt x="166" y="104"/>
                  </a:lnTo>
                  <a:lnTo>
                    <a:pt x="125" y="97"/>
                  </a:lnTo>
                  <a:lnTo>
                    <a:pt x="96" y="114"/>
                  </a:lnTo>
                  <a:lnTo>
                    <a:pt x="0" y="163"/>
                  </a:lnTo>
                  <a:lnTo>
                    <a:pt x="0" y="17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5" name="Freeform 48">
              <a:extLst>
                <a:ext uri="{FF2B5EF4-FFF2-40B4-BE49-F238E27FC236}">
                  <a16:creationId xmlns:a16="http://schemas.microsoft.com/office/drawing/2014/main" id="{392DD5EE-CBE4-4FA8-BCD0-75F7B80F8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7374" y="5469335"/>
              <a:ext cx="635672" cy="408427"/>
            </a:xfrm>
            <a:custGeom>
              <a:avLst/>
              <a:gdLst>
                <a:gd name="T0" fmla="*/ 2 w 414"/>
                <a:gd name="T1" fmla="*/ 160 h 266"/>
                <a:gd name="T2" fmla="*/ 64 w 414"/>
                <a:gd name="T3" fmla="*/ 122 h 266"/>
                <a:gd name="T4" fmla="*/ 53 w 414"/>
                <a:gd name="T5" fmla="*/ 111 h 266"/>
                <a:gd name="T6" fmla="*/ 68 w 414"/>
                <a:gd name="T7" fmla="*/ 83 h 266"/>
                <a:gd name="T8" fmla="*/ 104 w 414"/>
                <a:gd name="T9" fmla="*/ 85 h 266"/>
                <a:gd name="T10" fmla="*/ 108 w 414"/>
                <a:gd name="T11" fmla="*/ 20 h 266"/>
                <a:gd name="T12" fmla="*/ 134 w 414"/>
                <a:gd name="T13" fmla="*/ 0 h 266"/>
                <a:gd name="T14" fmla="*/ 198 w 414"/>
                <a:gd name="T15" fmla="*/ 20 h 266"/>
                <a:gd name="T16" fmla="*/ 253 w 414"/>
                <a:gd name="T17" fmla="*/ 66 h 266"/>
                <a:gd name="T18" fmla="*/ 285 w 414"/>
                <a:gd name="T19" fmla="*/ 64 h 266"/>
                <a:gd name="T20" fmla="*/ 334 w 414"/>
                <a:gd name="T21" fmla="*/ 88 h 266"/>
                <a:gd name="T22" fmla="*/ 363 w 414"/>
                <a:gd name="T23" fmla="*/ 90 h 266"/>
                <a:gd name="T24" fmla="*/ 404 w 414"/>
                <a:gd name="T25" fmla="*/ 66 h 266"/>
                <a:gd name="T26" fmla="*/ 414 w 414"/>
                <a:gd name="T27" fmla="*/ 90 h 266"/>
                <a:gd name="T28" fmla="*/ 395 w 414"/>
                <a:gd name="T29" fmla="*/ 92 h 266"/>
                <a:gd name="T30" fmla="*/ 380 w 414"/>
                <a:gd name="T31" fmla="*/ 120 h 266"/>
                <a:gd name="T32" fmla="*/ 380 w 414"/>
                <a:gd name="T33" fmla="*/ 124 h 266"/>
                <a:gd name="T34" fmla="*/ 397 w 414"/>
                <a:gd name="T35" fmla="*/ 130 h 266"/>
                <a:gd name="T36" fmla="*/ 391 w 414"/>
                <a:gd name="T37" fmla="*/ 156 h 266"/>
                <a:gd name="T38" fmla="*/ 414 w 414"/>
                <a:gd name="T39" fmla="*/ 177 h 266"/>
                <a:gd name="T40" fmla="*/ 387 w 414"/>
                <a:gd name="T41" fmla="*/ 185 h 266"/>
                <a:gd name="T42" fmla="*/ 387 w 414"/>
                <a:gd name="T43" fmla="*/ 215 h 266"/>
                <a:gd name="T44" fmla="*/ 410 w 414"/>
                <a:gd name="T45" fmla="*/ 234 h 266"/>
                <a:gd name="T46" fmla="*/ 387 w 414"/>
                <a:gd name="T47" fmla="*/ 266 h 266"/>
                <a:gd name="T48" fmla="*/ 298 w 414"/>
                <a:gd name="T49" fmla="*/ 258 h 266"/>
                <a:gd name="T50" fmla="*/ 304 w 414"/>
                <a:gd name="T51" fmla="*/ 219 h 266"/>
                <a:gd name="T52" fmla="*/ 287 w 414"/>
                <a:gd name="T53" fmla="*/ 202 h 266"/>
                <a:gd name="T54" fmla="*/ 217 w 414"/>
                <a:gd name="T55" fmla="*/ 215 h 266"/>
                <a:gd name="T56" fmla="*/ 204 w 414"/>
                <a:gd name="T57" fmla="*/ 196 h 266"/>
                <a:gd name="T58" fmla="*/ 240 w 414"/>
                <a:gd name="T59" fmla="*/ 190 h 266"/>
                <a:gd name="T60" fmla="*/ 266 w 414"/>
                <a:gd name="T61" fmla="*/ 160 h 266"/>
                <a:gd name="T62" fmla="*/ 249 w 414"/>
                <a:gd name="T63" fmla="*/ 171 h 266"/>
                <a:gd name="T64" fmla="*/ 210 w 414"/>
                <a:gd name="T65" fmla="*/ 132 h 266"/>
                <a:gd name="T66" fmla="*/ 221 w 414"/>
                <a:gd name="T67" fmla="*/ 188 h 266"/>
                <a:gd name="T68" fmla="*/ 185 w 414"/>
                <a:gd name="T69" fmla="*/ 179 h 266"/>
                <a:gd name="T70" fmla="*/ 164 w 414"/>
                <a:gd name="T71" fmla="*/ 217 h 266"/>
                <a:gd name="T72" fmla="*/ 91 w 414"/>
                <a:gd name="T73" fmla="*/ 205 h 266"/>
                <a:gd name="T74" fmla="*/ 100 w 414"/>
                <a:gd name="T75" fmla="*/ 190 h 266"/>
                <a:gd name="T76" fmla="*/ 85 w 414"/>
                <a:gd name="T77" fmla="*/ 175 h 266"/>
                <a:gd name="T78" fmla="*/ 0 w 414"/>
                <a:gd name="T79" fmla="*/ 173 h 266"/>
                <a:gd name="T80" fmla="*/ 2 w 414"/>
                <a:gd name="T81" fmla="*/ 16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14" h="266">
                  <a:moveTo>
                    <a:pt x="2" y="160"/>
                  </a:moveTo>
                  <a:lnTo>
                    <a:pt x="64" y="122"/>
                  </a:lnTo>
                  <a:lnTo>
                    <a:pt x="53" y="111"/>
                  </a:lnTo>
                  <a:lnTo>
                    <a:pt x="68" y="83"/>
                  </a:lnTo>
                  <a:lnTo>
                    <a:pt x="104" y="85"/>
                  </a:lnTo>
                  <a:lnTo>
                    <a:pt x="108" y="20"/>
                  </a:lnTo>
                  <a:lnTo>
                    <a:pt x="134" y="0"/>
                  </a:lnTo>
                  <a:lnTo>
                    <a:pt x="198" y="20"/>
                  </a:lnTo>
                  <a:lnTo>
                    <a:pt x="253" y="66"/>
                  </a:lnTo>
                  <a:lnTo>
                    <a:pt x="285" y="64"/>
                  </a:lnTo>
                  <a:lnTo>
                    <a:pt x="334" y="88"/>
                  </a:lnTo>
                  <a:lnTo>
                    <a:pt x="363" y="90"/>
                  </a:lnTo>
                  <a:lnTo>
                    <a:pt x="404" y="66"/>
                  </a:lnTo>
                  <a:lnTo>
                    <a:pt x="414" y="90"/>
                  </a:lnTo>
                  <a:lnTo>
                    <a:pt x="395" y="92"/>
                  </a:lnTo>
                  <a:lnTo>
                    <a:pt x="380" y="120"/>
                  </a:lnTo>
                  <a:lnTo>
                    <a:pt x="380" y="124"/>
                  </a:lnTo>
                  <a:lnTo>
                    <a:pt x="397" y="130"/>
                  </a:lnTo>
                  <a:lnTo>
                    <a:pt x="391" y="156"/>
                  </a:lnTo>
                  <a:lnTo>
                    <a:pt x="414" y="177"/>
                  </a:lnTo>
                  <a:lnTo>
                    <a:pt x="387" y="185"/>
                  </a:lnTo>
                  <a:lnTo>
                    <a:pt x="387" y="215"/>
                  </a:lnTo>
                  <a:lnTo>
                    <a:pt x="410" y="234"/>
                  </a:lnTo>
                  <a:lnTo>
                    <a:pt x="387" y="266"/>
                  </a:lnTo>
                  <a:lnTo>
                    <a:pt x="298" y="258"/>
                  </a:lnTo>
                  <a:lnTo>
                    <a:pt x="304" y="219"/>
                  </a:lnTo>
                  <a:lnTo>
                    <a:pt x="287" y="202"/>
                  </a:lnTo>
                  <a:lnTo>
                    <a:pt x="217" y="215"/>
                  </a:lnTo>
                  <a:lnTo>
                    <a:pt x="204" y="196"/>
                  </a:lnTo>
                  <a:lnTo>
                    <a:pt x="240" y="190"/>
                  </a:lnTo>
                  <a:lnTo>
                    <a:pt x="266" y="160"/>
                  </a:lnTo>
                  <a:lnTo>
                    <a:pt x="249" y="171"/>
                  </a:lnTo>
                  <a:lnTo>
                    <a:pt x="210" y="132"/>
                  </a:lnTo>
                  <a:lnTo>
                    <a:pt x="221" y="188"/>
                  </a:lnTo>
                  <a:lnTo>
                    <a:pt x="185" y="179"/>
                  </a:lnTo>
                  <a:lnTo>
                    <a:pt x="164" y="217"/>
                  </a:lnTo>
                  <a:lnTo>
                    <a:pt x="91" y="205"/>
                  </a:lnTo>
                  <a:lnTo>
                    <a:pt x="100" y="190"/>
                  </a:lnTo>
                  <a:lnTo>
                    <a:pt x="85" y="175"/>
                  </a:lnTo>
                  <a:lnTo>
                    <a:pt x="0" y="173"/>
                  </a:lnTo>
                  <a:lnTo>
                    <a:pt x="2" y="16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6" name="Freeform 49">
              <a:extLst>
                <a:ext uri="{FF2B5EF4-FFF2-40B4-BE49-F238E27FC236}">
                  <a16:creationId xmlns:a16="http://schemas.microsoft.com/office/drawing/2014/main" id="{C83160D2-E05A-45C0-9DBE-3039DB473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4097" y="4207202"/>
              <a:ext cx="554294" cy="518979"/>
            </a:xfrm>
            <a:custGeom>
              <a:avLst/>
              <a:gdLst>
                <a:gd name="T0" fmla="*/ 0 w 361"/>
                <a:gd name="T1" fmla="*/ 136 h 338"/>
                <a:gd name="T2" fmla="*/ 19 w 361"/>
                <a:gd name="T3" fmla="*/ 168 h 338"/>
                <a:gd name="T4" fmla="*/ 6 w 361"/>
                <a:gd name="T5" fmla="*/ 178 h 338"/>
                <a:gd name="T6" fmla="*/ 51 w 361"/>
                <a:gd name="T7" fmla="*/ 227 h 338"/>
                <a:gd name="T8" fmla="*/ 38 w 361"/>
                <a:gd name="T9" fmla="*/ 295 h 338"/>
                <a:gd name="T10" fmla="*/ 78 w 361"/>
                <a:gd name="T11" fmla="*/ 302 h 338"/>
                <a:gd name="T12" fmla="*/ 78 w 361"/>
                <a:gd name="T13" fmla="*/ 321 h 338"/>
                <a:gd name="T14" fmla="*/ 110 w 361"/>
                <a:gd name="T15" fmla="*/ 338 h 338"/>
                <a:gd name="T16" fmla="*/ 144 w 361"/>
                <a:gd name="T17" fmla="*/ 336 h 338"/>
                <a:gd name="T18" fmla="*/ 180 w 361"/>
                <a:gd name="T19" fmla="*/ 304 h 338"/>
                <a:gd name="T20" fmla="*/ 180 w 361"/>
                <a:gd name="T21" fmla="*/ 259 h 338"/>
                <a:gd name="T22" fmla="*/ 225 w 361"/>
                <a:gd name="T23" fmla="*/ 238 h 338"/>
                <a:gd name="T24" fmla="*/ 248 w 361"/>
                <a:gd name="T25" fmla="*/ 183 h 338"/>
                <a:gd name="T26" fmla="*/ 278 w 361"/>
                <a:gd name="T27" fmla="*/ 157 h 338"/>
                <a:gd name="T28" fmla="*/ 284 w 361"/>
                <a:gd name="T29" fmla="*/ 153 h 338"/>
                <a:gd name="T30" fmla="*/ 301 w 361"/>
                <a:gd name="T31" fmla="*/ 123 h 338"/>
                <a:gd name="T32" fmla="*/ 318 w 361"/>
                <a:gd name="T33" fmla="*/ 127 h 338"/>
                <a:gd name="T34" fmla="*/ 327 w 361"/>
                <a:gd name="T35" fmla="*/ 78 h 338"/>
                <a:gd name="T36" fmla="*/ 361 w 361"/>
                <a:gd name="T37" fmla="*/ 63 h 338"/>
                <a:gd name="T38" fmla="*/ 329 w 361"/>
                <a:gd name="T39" fmla="*/ 34 h 338"/>
                <a:gd name="T40" fmla="*/ 333 w 361"/>
                <a:gd name="T41" fmla="*/ 6 h 338"/>
                <a:gd name="T42" fmla="*/ 306 w 361"/>
                <a:gd name="T43" fmla="*/ 2 h 338"/>
                <a:gd name="T44" fmla="*/ 274 w 361"/>
                <a:gd name="T45" fmla="*/ 23 h 338"/>
                <a:gd name="T46" fmla="*/ 248 w 361"/>
                <a:gd name="T47" fmla="*/ 0 h 338"/>
                <a:gd name="T48" fmla="*/ 229 w 361"/>
                <a:gd name="T49" fmla="*/ 32 h 338"/>
                <a:gd name="T50" fmla="*/ 172 w 361"/>
                <a:gd name="T51" fmla="*/ 12 h 338"/>
                <a:gd name="T52" fmla="*/ 112 w 361"/>
                <a:gd name="T53" fmla="*/ 25 h 338"/>
                <a:gd name="T54" fmla="*/ 93 w 361"/>
                <a:gd name="T55" fmla="*/ 55 h 338"/>
                <a:gd name="T56" fmla="*/ 78 w 361"/>
                <a:gd name="T57" fmla="*/ 125 h 338"/>
                <a:gd name="T58" fmla="*/ 49 w 361"/>
                <a:gd name="T59" fmla="*/ 112 h 338"/>
                <a:gd name="T60" fmla="*/ 0 w 361"/>
                <a:gd name="T61" fmla="*/ 129 h 338"/>
                <a:gd name="T62" fmla="*/ 0 w 361"/>
                <a:gd name="T63" fmla="*/ 13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1" h="338">
                  <a:moveTo>
                    <a:pt x="0" y="136"/>
                  </a:moveTo>
                  <a:lnTo>
                    <a:pt x="19" y="168"/>
                  </a:lnTo>
                  <a:lnTo>
                    <a:pt x="6" y="178"/>
                  </a:lnTo>
                  <a:lnTo>
                    <a:pt x="51" y="227"/>
                  </a:lnTo>
                  <a:lnTo>
                    <a:pt x="38" y="295"/>
                  </a:lnTo>
                  <a:lnTo>
                    <a:pt x="78" y="302"/>
                  </a:lnTo>
                  <a:lnTo>
                    <a:pt x="78" y="321"/>
                  </a:lnTo>
                  <a:lnTo>
                    <a:pt x="110" y="338"/>
                  </a:lnTo>
                  <a:lnTo>
                    <a:pt x="144" y="336"/>
                  </a:lnTo>
                  <a:lnTo>
                    <a:pt x="180" y="304"/>
                  </a:lnTo>
                  <a:lnTo>
                    <a:pt x="180" y="259"/>
                  </a:lnTo>
                  <a:lnTo>
                    <a:pt x="225" y="238"/>
                  </a:lnTo>
                  <a:lnTo>
                    <a:pt x="248" y="183"/>
                  </a:lnTo>
                  <a:lnTo>
                    <a:pt x="278" y="157"/>
                  </a:lnTo>
                  <a:lnTo>
                    <a:pt x="284" y="153"/>
                  </a:lnTo>
                  <a:lnTo>
                    <a:pt x="301" y="123"/>
                  </a:lnTo>
                  <a:lnTo>
                    <a:pt x="318" y="127"/>
                  </a:lnTo>
                  <a:lnTo>
                    <a:pt x="327" y="78"/>
                  </a:lnTo>
                  <a:lnTo>
                    <a:pt x="361" y="63"/>
                  </a:lnTo>
                  <a:lnTo>
                    <a:pt x="329" y="34"/>
                  </a:lnTo>
                  <a:lnTo>
                    <a:pt x="333" y="6"/>
                  </a:lnTo>
                  <a:lnTo>
                    <a:pt x="306" y="2"/>
                  </a:lnTo>
                  <a:lnTo>
                    <a:pt x="274" y="23"/>
                  </a:lnTo>
                  <a:lnTo>
                    <a:pt x="248" y="0"/>
                  </a:lnTo>
                  <a:lnTo>
                    <a:pt x="229" y="32"/>
                  </a:lnTo>
                  <a:lnTo>
                    <a:pt x="172" y="12"/>
                  </a:lnTo>
                  <a:lnTo>
                    <a:pt x="112" y="25"/>
                  </a:lnTo>
                  <a:lnTo>
                    <a:pt x="93" y="55"/>
                  </a:lnTo>
                  <a:lnTo>
                    <a:pt x="78" y="125"/>
                  </a:lnTo>
                  <a:lnTo>
                    <a:pt x="49" y="112"/>
                  </a:lnTo>
                  <a:lnTo>
                    <a:pt x="0" y="129"/>
                  </a:lnTo>
                  <a:lnTo>
                    <a:pt x="0" y="13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7" name="Freeform 50">
              <a:extLst>
                <a:ext uri="{FF2B5EF4-FFF2-40B4-BE49-F238E27FC236}">
                  <a16:creationId xmlns:a16="http://schemas.microsoft.com/office/drawing/2014/main" id="{B104F209-020D-42AF-BCF8-A5ADF29A2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3938" y="4053658"/>
              <a:ext cx="479057" cy="724728"/>
            </a:xfrm>
            <a:custGeom>
              <a:avLst/>
              <a:gdLst>
                <a:gd name="T0" fmla="*/ 2 w 312"/>
                <a:gd name="T1" fmla="*/ 204 h 472"/>
                <a:gd name="T2" fmla="*/ 32 w 312"/>
                <a:gd name="T3" fmla="*/ 208 h 472"/>
                <a:gd name="T4" fmla="*/ 23 w 312"/>
                <a:gd name="T5" fmla="*/ 187 h 472"/>
                <a:gd name="T6" fmla="*/ 44 w 312"/>
                <a:gd name="T7" fmla="*/ 174 h 472"/>
                <a:gd name="T8" fmla="*/ 42 w 312"/>
                <a:gd name="T9" fmla="*/ 134 h 472"/>
                <a:gd name="T10" fmla="*/ 57 w 312"/>
                <a:gd name="T11" fmla="*/ 132 h 472"/>
                <a:gd name="T12" fmla="*/ 15 w 312"/>
                <a:gd name="T13" fmla="*/ 70 h 472"/>
                <a:gd name="T14" fmla="*/ 42 w 312"/>
                <a:gd name="T15" fmla="*/ 17 h 472"/>
                <a:gd name="T16" fmla="*/ 93 w 312"/>
                <a:gd name="T17" fmla="*/ 0 h 472"/>
                <a:gd name="T18" fmla="*/ 91 w 312"/>
                <a:gd name="T19" fmla="*/ 19 h 472"/>
                <a:gd name="T20" fmla="*/ 117 w 312"/>
                <a:gd name="T21" fmla="*/ 10 h 472"/>
                <a:gd name="T22" fmla="*/ 138 w 312"/>
                <a:gd name="T23" fmla="*/ 25 h 472"/>
                <a:gd name="T24" fmla="*/ 165 w 312"/>
                <a:gd name="T25" fmla="*/ 87 h 472"/>
                <a:gd name="T26" fmla="*/ 251 w 312"/>
                <a:gd name="T27" fmla="*/ 110 h 472"/>
                <a:gd name="T28" fmla="*/ 295 w 312"/>
                <a:gd name="T29" fmla="*/ 155 h 472"/>
                <a:gd name="T30" fmla="*/ 280 w 312"/>
                <a:gd name="T31" fmla="*/ 225 h 472"/>
                <a:gd name="T32" fmla="*/ 251 w 312"/>
                <a:gd name="T33" fmla="*/ 212 h 472"/>
                <a:gd name="T34" fmla="*/ 202 w 312"/>
                <a:gd name="T35" fmla="*/ 229 h 472"/>
                <a:gd name="T36" fmla="*/ 202 w 312"/>
                <a:gd name="T37" fmla="*/ 236 h 472"/>
                <a:gd name="T38" fmla="*/ 221 w 312"/>
                <a:gd name="T39" fmla="*/ 268 h 472"/>
                <a:gd name="T40" fmla="*/ 208 w 312"/>
                <a:gd name="T41" fmla="*/ 278 h 472"/>
                <a:gd name="T42" fmla="*/ 253 w 312"/>
                <a:gd name="T43" fmla="*/ 327 h 472"/>
                <a:gd name="T44" fmla="*/ 240 w 312"/>
                <a:gd name="T45" fmla="*/ 395 h 472"/>
                <a:gd name="T46" fmla="*/ 280 w 312"/>
                <a:gd name="T47" fmla="*/ 402 h 472"/>
                <a:gd name="T48" fmla="*/ 280 w 312"/>
                <a:gd name="T49" fmla="*/ 421 h 472"/>
                <a:gd name="T50" fmla="*/ 312 w 312"/>
                <a:gd name="T51" fmla="*/ 438 h 472"/>
                <a:gd name="T52" fmla="*/ 299 w 312"/>
                <a:gd name="T53" fmla="*/ 472 h 472"/>
                <a:gd name="T54" fmla="*/ 210 w 312"/>
                <a:gd name="T55" fmla="*/ 450 h 472"/>
                <a:gd name="T56" fmla="*/ 204 w 312"/>
                <a:gd name="T57" fmla="*/ 406 h 472"/>
                <a:gd name="T58" fmla="*/ 165 w 312"/>
                <a:gd name="T59" fmla="*/ 395 h 472"/>
                <a:gd name="T60" fmla="*/ 163 w 312"/>
                <a:gd name="T61" fmla="*/ 378 h 472"/>
                <a:gd name="T62" fmla="*/ 129 w 312"/>
                <a:gd name="T63" fmla="*/ 382 h 472"/>
                <a:gd name="T64" fmla="*/ 108 w 312"/>
                <a:gd name="T65" fmla="*/ 325 h 472"/>
                <a:gd name="T66" fmla="*/ 0 w 312"/>
                <a:gd name="T67" fmla="*/ 236 h 472"/>
                <a:gd name="T68" fmla="*/ 2 w 312"/>
                <a:gd name="T69" fmla="*/ 204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2" h="472">
                  <a:moveTo>
                    <a:pt x="2" y="204"/>
                  </a:moveTo>
                  <a:lnTo>
                    <a:pt x="32" y="208"/>
                  </a:lnTo>
                  <a:lnTo>
                    <a:pt x="23" y="187"/>
                  </a:lnTo>
                  <a:lnTo>
                    <a:pt x="44" y="174"/>
                  </a:lnTo>
                  <a:lnTo>
                    <a:pt x="42" y="134"/>
                  </a:lnTo>
                  <a:lnTo>
                    <a:pt x="57" y="132"/>
                  </a:lnTo>
                  <a:lnTo>
                    <a:pt x="15" y="70"/>
                  </a:lnTo>
                  <a:lnTo>
                    <a:pt x="42" y="17"/>
                  </a:lnTo>
                  <a:lnTo>
                    <a:pt x="93" y="0"/>
                  </a:lnTo>
                  <a:lnTo>
                    <a:pt x="91" y="19"/>
                  </a:lnTo>
                  <a:lnTo>
                    <a:pt x="117" y="10"/>
                  </a:lnTo>
                  <a:lnTo>
                    <a:pt x="138" y="25"/>
                  </a:lnTo>
                  <a:lnTo>
                    <a:pt x="165" y="87"/>
                  </a:lnTo>
                  <a:lnTo>
                    <a:pt x="251" y="110"/>
                  </a:lnTo>
                  <a:lnTo>
                    <a:pt x="295" y="155"/>
                  </a:lnTo>
                  <a:lnTo>
                    <a:pt x="280" y="225"/>
                  </a:lnTo>
                  <a:lnTo>
                    <a:pt x="251" y="212"/>
                  </a:lnTo>
                  <a:lnTo>
                    <a:pt x="202" y="229"/>
                  </a:lnTo>
                  <a:lnTo>
                    <a:pt x="202" y="236"/>
                  </a:lnTo>
                  <a:lnTo>
                    <a:pt x="221" y="268"/>
                  </a:lnTo>
                  <a:lnTo>
                    <a:pt x="208" y="278"/>
                  </a:lnTo>
                  <a:lnTo>
                    <a:pt x="253" y="327"/>
                  </a:lnTo>
                  <a:lnTo>
                    <a:pt x="240" y="395"/>
                  </a:lnTo>
                  <a:lnTo>
                    <a:pt x="280" y="402"/>
                  </a:lnTo>
                  <a:lnTo>
                    <a:pt x="280" y="421"/>
                  </a:lnTo>
                  <a:lnTo>
                    <a:pt x="312" y="438"/>
                  </a:lnTo>
                  <a:lnTo>
                    <a:pt x="299" y="472"/>
                  </a:lnTo>
                  <a:lnTo>
                    <a:pt x="210" y="450"/>
                  </a:lnTo>
                  <a:lnTo>
                    <a:pt x="204" y="406"/>
                  </a:lnTo>
                  <a:lnTo>
                    <a:pt x="165" y="395"/>
                  </a:lnTo>
                  <a:lnTo>
                    <a:pt x="163" y="378"/>
                  </a:lnTo>
                  <a:lnTo>
                    <a:pt x="129" y="382"/>
                  </a:lnTo>
                  <a:lnTo>
                    <a:pt x="108" y="325"/>
                  </a:lnTo>
                  <a:lnTo>
                    <a:pt x="0" y="236"/>
                  </a:lnTo>
                  <a:lnTo>
                    <a:pt x="2" y="20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5C7A51CA-831E-49D3-9D49-4E24B23847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3390348"/>
              <a:ext cx="499019" cy="675594"/>
            </a:xfrm>
            <a:custGeom>
              <a:avLst/>
              <a:gdLst>
                <a:gd name="T0" fmla="*/ 2 w 325"/>
                <a:gd name="T1" fmla="*/ 177 h 440"/>
                <a:gd name="T2" fmla="*/ 17 w 325"/>
                <a:gd name="T3" fmla="*/ 147 h 440"/>
                <a:gd name="T4" fmla="*/ 34 w 325"/>
                <a:gd name="T5" fmla="*/ 145 h 440"/>
                <a:gd name="T6" fmla="*/ 42 w 325"/>
                <a:gd name="T7" fmla="*/ 121 h 440"/>
                <a:gd name="T8" fmla="*/ 96 w 325"/>
                <a:gd name="T9" fmla="*/ 119 h 440"/>
                <a:gd name="T10" fmla="*/ 87 w 325"/>
                <a:gd name="T11" fmla="*/ 75 h 440"/>
                <a:gd name="T12" fmla="*/ 115 w 325"/>
                <a:gd name="T13" fmla="*/ 81 h 440"/>
                <a:gd name="T14" fmla="*/ 119 w 325"/>
                <a:gd name="T15" fmla="*/ 49 h 440"/>
                <a:gd name="T16" fmla="*/ 89 w 325"/>
                <a:gd name="T17" fmla="*/ 15 h 440"/>
                <a:gd name="T18" fmla="*/ 119 w 325"/>
                <a:gd name="T19" fmla="*/ 0 h 440"/>
                <a:gd name="T20" fmla="*/ 193 w 325"/>
                <a:gd name="T21" fmla="*/ 19 h 440"/>
                <a:gd name="T22" fmla="*/ 223 w 325"/>
                <a:gd name="T23" fmla="*/ 53 h 440"/>
                <a:gd name="T24" fmla="*/ 240 w 325"/>
                <a:gd name="T25" fmla="*/ 34 h 440"/>
                <a:gd name="T26" fmla="*/ 259 w 325"/>
                <a:gd name="T27" fmla="*/ 49 h 440"/>
                <a:gd name="T28" fmla="*/ 274 w 325"/>
                <a:gd name="T29" fmla="*/ 41 h 440"/>
                <a:gd name="T30" fmla="*/ 289 w 325"/>
                <a:gd name="T31" fmla="*/ 72 h 440"/>
                <a:gd name="T32" fmla="*/ 274 w 325"/>
                <a:gd name="T33" fmla="*/ 109 h 440"/>
                <a:gd name="T34" fmla="*/ 302 w 325"/>
                <a:gd name="T35" fmla="*/ 136 h 440"/>
                <a:gd name="T36" fmla="*/ 325 w 325"/>
                <a:gd name="T37" fmla="*/ 219 h 440"/>
                <a:gd name="T38" fmla="*/ 310 w 325"/>
                <a:gd name="T39" fmla="*/ 304 h 440"/>
                <a:gd name="T40" fmla="*/ 283 w 325"/>
                <a:gd name="T41" fmla="*/ 306 h 440"/>
                <a:gd name="T42" fmla="*/ 266 w 325"/>
                <a:gd name="T43" fmla="*/ 330 h 440"/>
                <a:gd name="T44" fmla="*/ 229 w 325"/>
                <a:gd name="T45" fmla="*/ 325 h 440"/>
                <a:gd name="T46" fmla="*/ 198 w 325"/>
                <a:gd name="T47" fmla="*/ 353 h 440"/>
                <a:gd name="T48" fmla="*/ 208 w 325"/>
                <a:gd name="T49" fmla="*/ 394 h 440"/>
                <a:gd name="T50" fmla="*/ 144 w 325"/>
                <a:gd name="T51" fmla="*/ 406 h 440"/>
                <a:gd name="T52" fmla="*/ 119 w 325"/>
                <a:gd name="T53" fmla="*/ 440 h 440"/>
                <a:gd name="T54" fmla="*/ 93 w 325"/>
                <a:gd name="T55" fmla="*/ 438 h 440"/>
                <a:gd name="T56" fmla="*/ 100 w 325"/>
                <a:gd name="T57" fmla="*/ 357 h 440"/>
                <a:gd name="T58" fmla="*/ 70 w 325"/>
                <a:gd name="T59" fmla="*/ 323 h 440"/>
                <a:gd name="T60" fmla="*/ 83 w 325"/>
                <a:gd name="T61" fmla="*/ 311 h 440"/>
                <a:gd name="T62" fmla="*/ 66 w 325"/>
                <a:gd name="T63" fmla="*/ 289 h 440"/>
                <a:gd name="T64" fmla="*/ 93 w 325"/>
                <a:gd name="T65" fmla="*/ 262 h 440"/>
                <a:gd name="T66" fmla="*/ 72 w 325"/>
                <a:gd name="T67" fmla="*/ 251 h 440"/>
                <a:gd name="T68" fmla="*/ 83 w 325"/>
                <a:gd name="T69" fmla="*/ 228 h 440"/>
                <a:gd name="T70" fmla="*/ 55 w 325"/>
                <a:gd name="T71" fmla="*/ 181 h 440"/>
                <a:gd name="T72" fmla="*/ 0 w 325"/>
                <a:gd name="T73" fmla="*/ 179 h 440"/>
                <a:gd name="T74" fmla="*/ 2 w 325"/>
                <a:gd name="T75" fmla="*/ 177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5" h="440">
                  <a:moveTo>
                    <a:pt x="2" y="177"/>
                  </a:moveTo>
                  <a:lnTo>
                    <a:pt x="17" y="147"/>
                  </a:lnTo>
                  <a:lnTo>
                    <a:pt x="34" y="145"/>
                  </a:lnTo>
                  <a:lnTo>
                    <a:pt x="42" y="121"/>
                  </a:lnTo>
                  <a:lnTo>
                    <a:pt x="96" y="119"/>
                  </a:lnTo>
                  <a:lnTo>
                    <a:pt x="87" y="75"/>
                  </a:lnTo>
                  <a:lnTo>
                    <a:pt x="115" y="81"/>
                  </a:lnTo>
                  <a:lnTo>
                    <a:pt x="119" y="49"/>
                  </a:lnTo>
                  <a:lnTo>
                    <a:pt x="89" y="15"/>
                  </a:lnTo>
                  <a:lnTo>
                    <a:pt x="119" y="0"/>
                  </a:lnTo>
                  <a:lnTo>
                    <a:pt x="193" y="19"/>
                  </a:lnTo>
                  <a:lnTo>
                    <a:pt x="223" y="53"/>
                  </a:lnTo>
                  <a:lnTo>
                    <a:pt x="240" y="34"/>
                  </a:lnTo>
                  <a:lnTo>
                    <a:pt x="259" y="49"/>
                  </a:lnTo>
                  <a:lnTo>
                    <a:pt x="274" y="41"/>
                  </a:lnTo>
                  <a:lnTo>
                    <a:pt x="289" y="72"/>
                  </a:lnTo>
                  <a:lnTo>
                    <a:pt x="274" y="109"/>
                  </a:lnTo>
                  <a:lnTo>
                    <a:pt x="302" y="136"/>
                  </a:lnTo>
                  <a:lnTo>
                    <a:pt x="325" y="219"/>
                  </a:lnTo>
                  <a:lnTo>
                    <a:pt x="310" y="304"/>
                  </a:lnTo>
                  <a:lnTo>
                    <a:pt x="283" y="306"/>
                  </a:lnTo>
                  <a:lnTo>
                    <a:pt x="266" y="330"/>
                  </a:lnTo>
                  <a:lnTo>
                    <a:pt x="229" y="325"/>
                  </a:lnTo>
                  <a:lnTo>
                    <a:pt x="198" y="353"/>
                  </a:lnTo>
                  <a:lnTo>
                    <a:pt x="208" y="394"/>
                  </a:lnTo>
                  <a:lnTo>
                    <a:pt x="144" y="406"/>
                  </a:lnTo>
                  <a:lnTo>
                    <a:pt x="119" y="440"/>
                  </a:lnTo>
                  <a:lnTo>
                    <a:pt x="93" y="438"/>
                  </a:lnTo>
                  <a:lnTo>
                    <a:pt x="100" y="357"/>
                  </a:lnTo>
                  <a:lnTo>
                    <a:pt x="70" y="323"/>
                  </a:lnTo>
                  <a:lnTo>
                    <a:pt x="83" y="311"/>
                  </a:lnTo>
                  <a:lnTo>
                    <a:pt x="66" y="289"/>
                  </a:lnTo>
                  <a:lnTo>
                    <a:pt x="93" y="262"/>
                  </a:lnTo>
                  <a:lnTo>
                    <a:pt x="72" y="251"/>
                  </a:lnTo>
                  <a:lnTo>
                    <a:pt x="83" y="228"/>
                  </a:lnTo>
                  <a:lnTo>
                    <a:pt x="55" y="181"/>
                  </a:lnTo>
                  <a:lnTo>
                    <a:pt x="0" y="179"/>
                  </a:lnTo>
                  <a:lnTo>
                    <a:pt x="2" y="17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9" name="Freeform 52">
              <a:extLst>
                <a:ext uri="{FF2B5EF4-FFF2-40B4-BE49-F238E27FC236}">
                  <a16:creationId xmlns:a16="http://schemas.microsoft.com/office/drawing/2014/main" id="{0AA61C62-4266-4638-8011-CF49F95B4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2924" y="3166174"/>
              <a:ext cx="554294" cy="632602"/>
            </a:xfrm>
            <a:custGeom>
              <a:avLst/>
              <a:gdLst>
                <a:gd name="T0" fmla="*/ 0 w 361"/>
                <a:gd name="T1" fmla="*/ 231 h 412"/>
                <a:gd name="T2" fmla="*/ 8 w 361"/>
                <a:gd name="T3" fmla="*/ 252 h 412"/>
                <a:gd name="T4" fmla="*/ 17 w 361"/>
                <a:gd name="T5" fmla="*/ 289 h 412"/>
                <a:gd name="T6" fmla="*/ 40 w 361"/>
                <a:gd name="T7" fmla="*/ 301 h 412"/>
                <a:gd name="T8" fmla="*/ 36 w 361"/>
                <a:gd name="T9" fmla="*/ 321 h 412"/>
                <a:gd name="T10" fmla="*/ 121 w 361"/>
                <a:gd name="T11" fmla="*/ 369 h 412"/>
                <a:gd name="T12" fmla="*/ 157 w 361"/>
                <a:gd name="T13" fmla="*/ 412 h 412"/>
                <a:gd name="T14" fmla="*/ 212 w 361"/>
                <a:gd name="T15" fmla="*/ 386 h 412"/>
                <a:gd name="T16" fmla="*/ 297 w 361"/>
                <a:gd name="T17" fmla="*/ 380 h 412"/>
                <a:gd name="T18" fmla="*/ 342 w 361"/>
                <a:gd name="T19" fmla="*/ 318 h 412"/>
                <a:gd name="T20" fmla="*/ 361 w 361"/>
                <a:gd name="T21" fmla="*/ 259 h 412"/>
                <a:gd name="T22" fmla="*/ 353 w 361"/>
                <a:gd name="T23" fmla="*/ 227 h 412"/>
                <a:gd name="T24" fmla="*/ 323 w 361"/>
                <a:gd name="T25" fmla="*/ 201 h 412"/>
                <a:gd name="T26" fmla="*/ 348 w 361"/>
                <a:gd name="T27" fmla="*/ 178 h 412"/>
                <a:gd name="T28" fmla="*/ 348 w 361"/>
                <a:gd name="T29" fmla="*/ 150 h 412"/>
                <a:gd name="T30" fmla="*/ 321 w 361"/>
                <a:gd name="T31" fmla="*/ 150 h 412"/>
                <a:gd name="T32" fmla="*/ 293 w 361"/>
                <a:gd name="T33" fmla="*/ 161 h 412"/>
                <a:gd name="T34" fmla="*/ 272 w 361"/>
                <a:gd name="T35" fmla="*/ 125 h 412"/>
                <a:gd name="T36" fmla="*/ 257 w 361"/>
                <a:gd name="T37" fmla="*/ 136 h 412"/>
                <a:gd name="T38" fmla="*/ 234 w 361"/>
                <a:gd name="T39" fmla="*/ 114 h 412"/>
                <a:gd name="T40" fmla="*/ 217 w 361"/>
                <a:gd name="T41" fmla="*/ 119 h 412"/>
                <a:gd name="T42" fmla="*/ 208 w 361"/>
                <a:gd name="T43" fmla="*/ 89 h 412"/>
                <a:gd name="T44" fmla="*/ 225 w 361"/>
                <a:gd name="T45" fmla="*/ 74 h 412"/>
                <a:gd name="T46" fmla="*/ 202 w 361"/>
                <a:gd name="T47" fmla="*/ 38 h 412"/>
                <a:gd name="T48" fmla="*/ 185 w 361"/>
                <a:gd name="T49" fmla="*/ 40 h 412"/>
                <a:gd name="T50" fmla="*/ 180 w 361"/>
                <a:gd name="T51" fmla="*/ 12 h 412"/>
                <a:gd name="T52" fmla="*/ 153 w 361"/>
                <a:gd name="T53" fmla="*/ 2 h 412"/>
                <a:gd name="T54" fmla="*/ 123 w 361"/>
                <a:gd name="T55" fmla="*/ 0 h 412"/>
                <a:gd name="T56" fmla="*/ 117 w 361"/>
                <a:gd name="T57" fmla="*/ 21 h 412"/>
                <a:gd name="T58" fmla="*/ 59 w 361"/>
                <a:gd name="T59" fmla="*/ 25 h 412"/>
                <a:gd name="T60" fmla="*/ 53 w 361"/>
                <a:gd name="T61" fmla="*/ 38 h 412"/>
                <a:gd name="T62" fmla="*/ 42 w 361"/>
                <a:gd name="T63" fmla="*/ 55 h 412"/>
                <a:gd name="T64" fmla="*/ 61 w 361"/>
                <a:gd name="T65" fmla="*/ 65 h 412"/>
                <a:gd name="T66" fmla="*/ 63 w 361"/>
                <a:gd name="T67" fmla="*/ 99 h 412"/>
                <a:gd name="T68" fmla="*/ 40 w 361"/>
                <a:gd name="T69" fmla="*/ 110 h 412"/>
                <a:gd name="T70" fmla="*/ 51 w 361"/>
                <a:gd name="T71" fmla="*/ 125 h 412"/>
                <a:gd name="T72" fmla="*/ 36 w 361"/>
                <a:gd name="T73" fmla="*/ 129 h 412"/>
                <a:gd name="T74" fmla="*/ 0 w 361"/>
                <a:gd name="T75" fmla="*/ 229 h 412"/>
                <a:gd name="T76" fmla="*/ 0 w 361"/>
                <a:gd name="T77" fmla="*/ 231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1" h="412">
                  <a:moveTo>
                    <a:pt x="0" y="231"/>
                  </a:moveTo>
                  <a:lnTo>
                    <a:pt x="8" y="252"/>
                  </a:lnTo>
                  <a:lnTo>
                    <a:pt x="17" y="289"/>
                  </a:lnTo>
                  <a:lnTo>
                    <a:pt x="40" y="301"/>
                  </a:lnTo>
                  <a:lnTo>
                    <a:pt x="36" y="321"/>
                  </a:lnTo>
                  <a:lnTo>
                    <a:pt x="121" y="369"/>
                  </a:lnTo>
                  <a:lnTo>
                    <a:pt x="157" y="412"/>
                  </a:lnTo>
                  <a:lnTo>
                    <a:pt x="212" y="386"/>
                  </a:lnTo>
                  <a:lnTo>
                    <a:pt x="297" y="380"/>
                  </a:lnTo>
                  <a:lnTo>
                    <a:pt x="342" y="318"/>
                  </a:lnTo>
                  <a:lnTo>
                    <a:pt x="361" y="259"/>
                  </a:lnTo>
                  <a:lnTo>
                    <a:pt x="353" y="227"/>
                  </a:lnTo>
                  <a:lnTo>
                    <a:pt x="323" y="201"/>
                  </a:lnTo>
                  <a:lnTo>
                    <a:pt x="348" y="178"/>
                  </a:lnTo>
                  <a:lnTo>
                    <a:pt x="348" y="150"/>
                  </a:lnTo>
                  <a:lnTo>
                    <a:pt x="321" y="150"/>
                  </a:lnTo>
                  <a:lnTo>
                    <a:pt x="293" y="161"/>
                  </a:lnTo>
                  <a:lnTo>
                    <a:pt x="272" y="125"/>
                  </a:lnTo>
                  <a:lnTo>
                    <a:pt x="257" y="136"/>
                  </a:lnTo>
                  <a:lnTo>
                    <a:pt x="234" y="114"/>
                  </a:lnTo>
                  <a:lnTo>
                    <a:pt x="217" y="119"/>
                  </a:lnTo>
                  <a:lnTo>
                    <a:pt x="208" y="89"/>
                  </a:lnTo>
                  <a:lnTo>
                    <a:pt x="225" y="74"/>
                  </a:lnTo>
                  <a:lnTo>
                    <a:pt x="202" y="38"/>
                  </a:lnTo>
                  <a:lnTo>
                    <a:pt x="185" y="40"/>
                  </a:lnTo>
                  <a:lnTo>
                    <a:pt x="180" y="12"/>
                  </a:lnTo>
                  <a:lnTo>
                    <a:pt x="153" y="2"/>
                  </a:lnTo>
                  <a:lnTo>
                    <a:pt x="123" y="0"/>
                  </a:lnTo>
                  <a:lnTo>
                    <a:pt x="117" y="21"/>
                  </a:lnTo>
                  <a:lnTo>
                    <a:pt x="59" y="25"/>
                  </a:lnTo>
                  <a:lnTo>
                    <a:pt x="53" y="38"/>
                  </a:lnTo>
                  <a:lnTo>
                    <a:pt x="42" y="55"/>
                  </a:lnTo>
                  <a:lnTo>
                    <a:pt x="61" y="65"/>
                  </a:lnTo>
                  <a:lnTo>
                    <a:pt x="63" y="99"/>
                  </a:lnTo>
                  <a:lnTo>
                    <a:pt x="40" y="110"/>
                  </a:lnTo>
                  <a:lnTo>
                    <a:pt x="51" y="125"/>
                  </a:lnTo>
                  <a:lnTo>
                    <a:pt x="36" y="129"/>
                  </a:lnTo>
                  <a:lnTo>
                    <a:pt x="0" y="229"/>
                  </a:lnTo>
                  <a:lnTo>
                    <a:pt x="0" y="23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AE554DDC-7ED1-4E3E-BD61-EDAB4A601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1349" y="3662120"/>
              <a:ext cx="23032" cy="12284"/>
            </a:xfrm>
            <a:custGeom>
              <a:avLst/>
              <a:gdLst>
                <a:gd name="T0" fmla="*/ 0 w 15"/>
                <a:gd name="T1" fmla="*/ 8 h 8"/>
                <a:gd name="T2" fmla="*/ 15 w 15"/>
                <a:gd name="T3" fmla="*/ 0 h 8"/>
                <a:gd name="T4" fmla="*/ 0 w 15"/>
                <a:gd name="T5" fmla="*/ 0 h 8"/>
                <a:gd name="T6" fmla="*/ 0 w 15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8">
                  <a:moveTo>
                    <a:pt x="0" y="8"/>
                  </a:moveTo>
                  <a:lnTo>
                    <a:pt x="15" y="0"/>
                  </a:lnTo>
                  <a:lnTo>
                    <a:pt x="0" y="0"/>
                  </a:lnTo>
                  <a:lnTo>
                    <a:pt x="0" y="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id="{7638C188-0379-4B3D-8184-18D910990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3974" y="2587312"/>
              <a:ext cx="643350" cy="486735"/>
            </a:xfrm>
            <a:custGeom>
              <a:avLst/>
              <a:gdLst>
                <a:gd name="T0" fmla="*/ 2 w 419"/>
                <a:gd name="T1" fmla="*/ 75 h 317"/>
                <a:gd name="T2" fmla="*/ 25 w 419"/>
                <a:gd name="T3" fmla="*/ 117 h 317"/>
                <a:gd name="T4" fmla="*/ 11 w 419"/>
                <a:gd name="T5" fmla="*/ 138 h 317"/>
                <a:gd name="T6" fmla="*/ 21 w 419"/>
                <a:gd name="T7" fmla="*/ 149 h 317"/>
                <a:gd name="T8" fmla="*/ 6 w 419"/>
                <a:gd name="T9" fmla="*/ 170 h 317"/>
                <a:gd name="T10" fmla="*/ 25 w 419"/>
                <a:gd name="T11" fmla="*/ 198 h 317"/>
                <a:gd name="T12" fmla="*/ 8 w 419"/>
                <a:gd name="T13" fmla="*/ 243 h 317"/>
                <a:gd name="T14" fmla="*/ 79 w 419"/>
                <a:gd name="T15" fmla="*/ 268 h 317"/>
                <a:gd name="T16" fmla="*/ 130 w 419"/>
                <a:gd name="T17" fmla="*/ 245 h 317"/>
                <a:gd name="T18" fmla="*/ 191 w 419"/>
                <a:gd name="T19" fmla="*/ 272 h 317"/>
                <a:gd name="T20" fmla="*/ 200 w 419"/>
                <a:gd name="T21" fmla="*/ 296 h 317"/>
                <a:gd name="T22" fmla="*/ 229 w 419"/>
                <a:gd name="T23" fmla="*/ 285 h 317"/>
                <a:gd name="T24" fmla="*/ 225 w 419"/>
                <a:gd name="T25" fmla="*/ 317 h 317"/>
                <a:gd name="T26" fmla="*/ 255 w 419"/>
                <a:gd name="T27" fmla="*/ 304 h 317"/>
                <a:gd name="T28" fmla="*/ 261 w 419"/>
                <a:gd name="T29" fmla="*/ 274 h 317"/>
                <a:gd name="T30" fmla="*/ 319 w 419"/>
                <a:gd name="T31" fmla="*/ 289 h 317"/>
                <a:gd name="T32" fmla="*/ 346 w 419"/>
                <a:gd name="T33" fmla="*/ 247 h 317"/>
                <a:gd name="T34" fmla="*/ 404 w 419"/>
                <a:gd name="T35" fmla="*/ 238 h 317"/>
                <a:gd name="T36" fmla="*/ 412 w 419"/>
                <a:gd name="T37" fmla="*/ 215 h 317"/>
                <a:gd name="T38" fmla="*/ 419 w 419"/>
                <a:gd name="T39" fmla="*/ 147 h 317"/>
                <a:gd name="T40" fmla="*/ 370 w 419"/>
                <a:gd name="T41" fmla="*/ 121 h 317"/>
                <a:gd name="T42" fmla="*/ 349 w 419"/>
                <a:gd name="T43" fmla="*/ 128 h 317"/>
                <a:gd name="T44" fmla="*/ 340 w 419"/>
                <a:gd name="T45" fmla="*/ 102 h 317"/>
                <a:gd name="T46" fmla="*/ 321 w 419"/>
                <a:gd name="T47" fmla="*/ 111 h 317"/>
                <a:gd name="T48" fmla="*/ 334 w 419"/>
                <a:gd name="T49" fmla="*/ 94 h 317"/>
                <a:gd name="T50" fmla="*/ 325 w 419"/>
                <a:gd name="T51" fmla="*/ 85 h 317"/>
                <a:gd name="T52" fmla="*/ 285 w 419"/>
                <a:gd name="T53" fmla="*/ 98 h 317"/>
                <a:gd name="T54" fmla="*/ 232 w 419"/>
                <a:gd name="T55" fmla="*/ 147 h 317"/>
                <a:gd name="T56" fmla="*/ 181 w 419"/>
                <a:gd name="T57" fmla="*/ 49 h 317"/>
                <a:gd name="T58" fmla="*/ 149 w 419"/>
                <a:gd name="T59" fmla="*/ 24 h 317"/>
                <a:gd name="T60" fmla="*/ 151 w 419"/>
                <a:gd name="T61" fmla="*/ 0 h 317"/>
                <a:gd name="T62" fmla="*/ 119 w 419"/>
                <a:gd name="T63" fmla="*/ 17 h 317"/>
                <a:gd name="T64" fmla="*/ 113 w 419"/>
                <a:gd name="T65" fmla="*/ 2 h 317"/>
                <a:gd name="T66" fmla="*/ 79 w 419"/>
                <a:gd name="T67" fmla="*/ 17 h 317"/>
                <a:gd name="T68" fmla="*/ 51 w 419"/>
                <a:gd name="T69" fmla="*/ 9 h 317"/>
                <a:gd name="T70" fmla="*/ 25 w 419"/>
                <a:gd name="T71" fmla="*/ 26 h 317"/>
                <a:gd name="T72" fmla="*/ 23 w 419"/>
                <a:gd name="T73" fmla="*/ 66 h 317"/>
                <a:gd name="T74" fmla="*/ 8 w 419"/>
                <a:gd name="T75" fmla="*/ 62 h 317"/>
                <a:gd name="T76" fmla="*/ 0 w 419"/>
                <a:gd name="T77" fmla="*/ 72 h 317"/>
                <a:gd name="T78" fmla="*/ 2 w 419"/>
                <a:gd name="T79" fmla="*/ 75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19" h="317">
                  <a:moveTo>
                    <a:pt x="2" y="75"/>
                  </a:moveTo>
                  <a:lnTo>
                    <a:pt x="25" y="117"/>
                  </a:lnTo>
                  <a:lnTo>
                    <a:pt x="11" y="138"/>
                  </a:lnTo>
                  <a:lnTo>
                    <a:pt x="21" y="149"/>
                  </a:lnTo>
                  <a:lnTo>
                    <a:pt x="6" y="170"/>
                  </a:lnTo>
                  <a:lnTo>
                    <a:pt x="25" y="198"/>
                  </a:lnTo>
                  <a:lnTo>
                    <a:pt x="8" y="243"/>
                  </a:lnTo>
                  <a:lnTo>
                    <a:pt x="79" y="268"/>
                  </a:lnTo>
                  <a:lnTo>
                    <a:pt x="130" y="245"/>
                  </a:lnTo>
                  <a:lnTo>
                    <a:pt x="191" y="272"/>
                  </a:lnTo>
                  <a:lnTo>
                    <a:pt x="200" y="296"/>
                  </a:lnTo>
                  <a:lnTo>
                    <a:pt x="229" y="285"/>
                  </a:lnTo>
                  <a:lnTo>
                    <a:pt x="225" y="317"/>
                  </a:lnTo>
                  <a:lnTo>
                    <a:pt x="255" y="304"/>
                  </a:lnTo>
                  <a:lnTo>
                    <a:pt x="261" y="274"/>
                  </a:lnTo>
                  <a:lnTo>
                    <a:pt x="319" y="289"/>
                  </a:lnTo>
                  <a:lnTo>
                    <a:pt x="346" y="247"/>
                  </a:lnTo>
                  <a:lnTo>
                    <a:pt x="404" y="238"/>
                  </a:lnTo>
                  <a:lnTo>
                    <a:pt x="412" y="215"/>
                  </a:lnTo>
                  <a:lnTo>
                    <a:pt x="419" y="147"/>
                  </a:lnTo>
                  <a:lnTo>
                    <a:pt x="370" y="121"/>
                  </a:lnTo>
                  <a:lnTo>
                    <a:pt x="349" y="128"/>
                  </a:lnTo>
                  <a:lnTo>
                    <a:pt x="340" y="102"/>
                  </a:lnTo>
                  <a:lnTo>
                    <a:pt x="321" y="111"/>
                  </a:lnTo>
                  <a:lnTo>
                    <a:pt x="334" y="94"/>
                  </a:lnTo>
                  <a:lnTo>
                    <a:pt x="325" y="85"/>
                  </a:lnTo>
                  <a:lnTo>
                    <a:pt x="285" y="98"/>
                  </a:lnTo>
                  <a:lnTo>
                    <a:pt x="232" y="147"/>
                  </a:lnTo>
                  <a:lnTo>
                    <a:pt x="181" y="49"/>
                  </a:lnTo>
                  <a:lnTo>
                    <a:pt x="149" y="24"/>
                  </a:lnTo>
                  <a:lnTo>
                    <a:pt x="151" y="0"/>
                  </a:lnTo>
                  <a:lnTo>
                    <a:pt x="119" y="17"/>
                  </a:lnTo>
                  <a:lnTo>
                    <a:pt x="113" y="2"/>
                  </a:lnTo>
                  <a:lnTo>
                    <a:pt x="79" y="17"/>
                  </a:lnTo>
                  <a:lnTo>
                    <a:pt x="51" y="9"/>
                  </a:lnTo>
                  <a:lnTo>
                    <a:pt x="25" y="26"/>
                  </a:lnTo>
                  <a:lnTo>
                    <a:pt x="23" y="66"/>
                  </a:lnTo>
                  <a:lnTo>
                    <a:pt x="8" y="62"/>
                  </a:lnTo>
                  <a:lnTo>
                    <a:pt x="0" y="72"/>
                  </a:lnTo>
                  <a:lnTo>
                    <a:pt x="2" y="75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2" name="Freeform 55">
              <a:extLst>
                <a:ext uri="{FF2B5EF4-FFF2-40B4-BE49-F238E27FC236}">
                  <a16:creationId xmlns:a16="http://schemas.microsoft.com/office/drawing/2014/main" id="{F499F101-430E-428A-B9D0-43CB4C5E6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895" y="4042910"/>
              <a:ext cx="475986" cy="448349"/>
            </a:xfrm>
            <a:custGeom>
              <a:avLst/>
              <a:gdLst>
                <a:gd name="T0" fmla="*/ 2 w 310"/>
                <a:gd name="T1" fmla="*/ 92 h 292"/>
                <a:gd name="T2" fmla="*/ 27 w 310"/>
                <a:gd name="T3" fmla="*/ 113 h 292"/>
                <a:gd name="T4" fmla="*/ 46 w 310"/>
                <a:gd name="T5" fmla="*/ 170 h 292"/>
                <a:gd name="T6" fmla="*/ 27 w 310"/>
                <a:gd name="T7" fmla="*/ 187 h 292"/>
                <a:gd name="T8" fmla="*/ 61 w 310"/>
                <a:gd name="T9" fmla="*/ 194 h 292"/>
                <a:gd name="T10" fmla="*/ 57 w 310"/>
                <a:gd name="T11" fmla="*/ 221 h 292"/>
                <a:gd name="T12" fmla="*/ 95 w 310"/>
                <a:gd name="T13" fmla="*/ 215 h 292"/>
                <a:gd name="T14" fmla="*/ 123 w 310"/>
                <a:gd name="T15" fmla="*/ 243 h 292"/>
                <a:gd name="T16" fmla="*/ 127 w 310"/>
                <a:gd name="T17" fmla="*/ 277 h 292"/>
                <a:gd name="T18" fmla="*/ 165 w 310"/>
                <a:gd name="T19" fmla="*/ 256 h 292"/>
                <a:gd name="T20" fmla="*/ 221 w 310"/>
                <a:gd name="T21" fmla="*/ 292 h 292"/>
                <a:gd name="T22" fmla="*/ 278 w 310"/>
                <a:gd name="T23" fmla="*/ 266 h 292"/>
                <a:gd name="T24" fmla="*/ 253 w 310"/>
                <a:gd name="T25" fmla="*/ 232 h 292"/>
                <a:gd name="T26" fmla="*/ 257 w 310"/>
                <a:gd name="T27" fmla="*/ 228 h 292"/>
                <a:gd name="T28" fmla="*/ 310 w 310"/>
                <a:gd name="T29" fmla="*/ 179 h 292"/>
                <a:gd name="T30" fmla="*/ 299 w 310"/>
                <a:gd name="T31" fmla="*/ 119 h 292"/>
                <a:gd name="T32" fmla="*/ 278 w 310"/>
                <a:gd name="T33" fmla="*/ 68 h 292"/>
                <a:gd name="T34" fmla="*/ 233 w 310"/>
                <a:gd name="T35" fmla="*/ 43 h 292"/>
                <a:gd name="T36" fmla="*/ 229 w 310"/>
                <a:gd name="T37" fmla="*/ 17 h 292"/>
                <a:gd name="T38" fmla="*/ 225 w 310"/>
                <a:gd name="T39" fmla="*/ 15 h 292"/>
                <a:gd name="T40" fmla="*/ 199 w 310"/>
                <a:gd name="T41" fmla="*/ 13 h 292"/>
                <a:gd name="T42" fmla="*/ 106 w 310"/>
                <a:gd name="T43" fmla="*/ 0 h 292"/>
                <a:gd name="T44" fmla="*/ 87 w 310"/>
                <a:gd name="T45" fmla="*/ 24 h 292"/>
                <a:gd name="T46" fmla="*/ 38 w 310"/>
                <a:gd name="T47" fmla="*/ 9 h 292"/>
                <a:gd name="T48" fmla="*/ 12 w 310"/>
                <a:gd name="T49" fmla="*/ 37 h 292"/>
                <a:gd name="T50" fmla="*/ 15 w 310"/>
                <a:gd name="T51" fmla="*/ 66 h 292"/>
                <a:gd name="T52" fmla="*/ 0 w 310"/>
                <a:gd name="T53" fmla="*/ 85 h 292"/>
                <a:gd name="T54" fmla="*/ 2 w 310"/>
                <a:gd name="T55" fmla="*/ 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0" h="292">
                  <a:moveTo>
                    <a:pt x="2" y="92"/>
                  </a:moveTo>
                  <a:lnTo>
                    <a:pt x="27" y="113"/>
                  </a:lnTo>
                  <a:lnTo>
                    <a:pt x="46" y="170"/>
                  </a:lnTo>
                  <a:lnTo>
                    <a:pt x="27" y="187"/>
                  </a:lnTo>
                  <a:lnTo>
                    <a:pt x="61" y="194"/>
                  </a:lnTo>
                  <a:lnTo>
                    <a:pt x="57" y="221"/>
                  </a:lnTo>
                  <a:lnTo>
                    <a:pt x="95" y="215"/>
                  </a:lnTo>
                  <a:lnTo>
                    <a:pt x="123" y="243"/>
                  </a:lnTo>
                  <a:lnTo>
                    <a:pt x="127" y="277"/>
                  </a:lnTo>
                  <a:lnTo>
                    <a:pt x="165" y="256"/>
                  </a:lnTo>
                  <a:lnTo>
                    <a:pt x="221" y="292"/>
                  </a:lnTo>
                  <a:lnTo>
                    <a:pt x="278" y="266"/>
                  </a:lnTo>
                  <a:lnTo>
                    <a:pt x="253" y="232"/>
                  </a:lnTo>
                  <a:lnTo>
                    <a:pt x="257" y="228"/>
                  </a:lnTo>
                  <a:lnTo>
                    <a:pt x="310" y="179"/>
                  </a:lnTo>
                  <a:lnTo>
                    <a:pt x="299" y="119"/>
                  </a:lnTo>
                  <a:lnTo>
                    <a:pt x="278" y="68"/>
                  </a:lnTo>
                  <a:lnTo>
                    <a:pt x="233" y="43"/>
                  </a:lnTo>
                  <a:lnTo>
                    <a:pt x="229" y="17"/>
                  </a:lnTo>
                  <a:lnTo>
                    <a:pt x="225" y="15"/>
                  </a:lnTo>
                  <a:lnTo>
                    <a:pt x="199" y="13"/>
                  </a:lnTo>
                  <a:lnTo>
                    <a:pt x="106" y="0"/>
                  </a:lnTo>
                  <a:lnTo>
                    <a:pt x="87" y="24"/>
                  </a:lnTo>
                  <a:lnTo>
                    <a:pt x="38" y="9"/>
                  </a:lnTo>
                  <a:lnTo>
                    <a:pt x="12" y="37"/>
                  </a:lnTo>
                  <a:lnTo>
                    <a:pt x="15" y="66"/>
                  </a:lnTo>
                  <a:lnTo>
                    <a:pt x="0" y="85"/>
                  </a:lnTo>
                  <a:lnTo>
                    <a:pt x="2" y="9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3" name="Freeform 56">
              <a:extLst>
                <a:ext uri="{FF2B5EF4-FFF2-40B4-BE49-F238E27FC236}">
                  <a16:creationId xmlns:a16="http://schemas.microsoft.com/office/drawing/2014/main" id="{398B51F1-9A76-40B4-B9F0-5B734A331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893" y="4448266"/>
              <a:ext cx="594216" cy="646421"/>
            </a:xfrm>
            <a:custGeom>
              <a:avLst/>
              <a:gdLst>
                <a:gd name="T0" fmla="*/ 2 w 387"/>
                <a:gd name="T1" fmla="*/ 306 h 421"/>
                <a:gd name="T2" fmla="*/ 32 w 387"/>
                <a:gd name="T3" fmla="*/ 230 h 421"/>
                <a:gd name="T4" fmla="*/ 26 w 387"/>
                <a:gd name="T5" fmla="*/ 213 h 421"/>
                <a:gd name="T6" fmla="*/ 4 w 387"/>
                <a:gd name="T7" fmla="*/ 215 h 421"/>
                <a:gd name="T8" fmla="*/ 17 w 387"/>
                <a:gd name="T9" fmla="*/ 181 h 421"/>
                <a:gd name="T10" fmla="*/ 51 w 387"/>
                <a:gd name="T11" fmla="*/ 179 h 421"/>
                <a:gd name="T12" fmla="*/ 87 w 387"/>
                <a:gd name="T13" fmla="*/ 147 h 421"/>
                <a:gd name="T14" fmla="*/ 87 w 387"/>
                <a:gd name="T15" fmla="*/ 102 h 421"/>
                <a:gd name="T16" fmla="*/ 132 w 387"/>
                <a:gd name="T17" fmla="*/ 81 h 421"/>
                <a:gd name="T18" fmla="*/ 155 w 387"/>
                <a:gd name="T19" fmla="*/ 26 h 421"/>
                <a:gd name="T20" fmla="*/ 185 w 387"/>
                <a:gd name="T21" fmla="*/ 0 h 421"/>
                <a:gd name="T22" fmla="*/ 213 w 387"/>
                <a:gd name="T23" fmla="*/ 11 h 421"/>
                <a:gd name="T24" fmla="*/ 230 w 387"/>
                <a:gd name="T25" fmla="*/ 51 h 421"/>
                <a:gd name="T26" fmla="*/ 245 w 387"/>
                <a:gd name="T27" fmla="*/ 36 h 421"/>
                <a:gd name="T28" fmla="*/ 285 w 387"/>
                <a:gd name="T29" fmla="*/ 40 h 421"/>
                <a:gd name="T30" fmla="*/ 300 w 387"/>
                <a:gd name="T31" fmla="*/ 68 h 421"/>
                <a:gd name="T32" fmla="*/ 321 w 387"/>
                <a:gd name="T33" fmla="*/ 72 h 421"/>
                <a:gd name="T34" fmla="*/ 306 w 387"/>
                <a:gd name="T35" fmla="*/ 87 h 421"/>
                <a:gd name="T36" fmla="*/ 342 w 387"/>
                <a:gd name="T37" fmla="*/ 102 h 421"/>
                <a:gd name="T38" fmla="*/ 359 w 387"/>
                <a:gd name="T39" fmla="*/ 125 h 421"/>
                <a:gd name="T40" fmla="*/ 336 w 387"/>
                <a:gd name="T41" fmla="*/ 149 h 421"/>
                <a:gd name="T42" fmla="*/ 347 w 387"/>
                <a:gd name="T43" fmla="*/ 176 h 421"/>
                <a:gd name="T44" fmla="*/ 332 w 387"/>
                <a:gd name="T45" fmla="*/ 187 h 421"/>
                <a:gd name="T46" fmla="*/ 334 w 387"/>
                <a:gd name="T47" fmla="*/ 193 h 421"/>
                <a:gd name="T48" fmla="*/ 379 w 387"/>
                <a:gd name="T49" fmla="*/ 221 h 421"/>
                <a:gd name="T50" fmla="*/ 370 w 387"/>
                <a:gd name="T51" fmla="*/ 230 h 421"/>
                <a:gd name="T52" fmla="*/ 387 w 387"/>
                <a:gd name="T53" fmla="*/ 259 h 421"/>
                <a:gd name="T54" fmla="*/ 385 w 387"/>
                <a:gd name="T55" fmla="*/ 313 h 421"/>
                <a:gd name="T56" fmla="*/ 285 w 387"/>
                <a:gd name="T57" fmla="*/ 421 h 421"/>
                <a:gd name="T58" fmla="*/ 262 w 387"/>
                <a:gd name="T59" fmla="*/ 395 h 421"/>
                <a:gd name="T60" fmla="*/ 223 w 387"/>
                <a:gd name="T61" fmla="*/ 408 h 421"/>
                <a:gd name="T62" fmla="*/ 213 w 387"/>
                <a:gd name="T63" fmla="*/ 372 h 421"/>
                <a:gd name="T64" fmla="*/ 100 w 387"/>
                <a:gd name="T65" fmla="*/ 383 h 421"/>
                <a:gd name="T66" fmla="*/ 85 w 387"/>
                <a:gd name="T67" fmla="*/ 344 h 421"/>
                <a:gd name="T68" fmla="*/ 85 w 387"/>
                <a:gd name="T69" fmla="*/ 304 h 421"/>
                <a:gd name="T70" fmla="*/ 58 w 387"/>
                <a:gd name="T71" fmla="*/ 321 h 421"/>
                <a:gd name="T72" fmla="*/ 0 w 387"/>
                <a:gd name="T73" fmla="*/ 308 h 421"/>
                <a:gd name="T74" fmla="*/ 2 w 387"/>
                <a:gd name="T75" fmla="*/ 306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87" h="421">
                  <a:moveTo>
                    <a:pt x="2" y="306"/>
                  </a:moveTo>
                  <a:lnTo>
                    <a:pt x="32" y="230"/>
                  </a:lnTo>
                  <a:lnTo>
                    <a:pt x="26" y="213"/>
                  </a:lnTo>
                  <a:lnTo>
                    <a:pt x="4" y="215"/>
                  </a:lnTo>
                  <a:lnTo>
                    <a:pt x="17" y="181"/>
                  </a:lnTo>
                  <a:lnTo>
                    <a:pt x="51" y="179"/>
                  </a:lnTo>
                  <a:lnTo>
                    <a:pt x="87" y="147"/>
                  </a:lnTo>
                  <a:lnTo>
                    <a:pt x="87" y="102"/>
                  </a:lnTo>
                  <a:lnTo>
                    <a:pt x="132" y="81"/>
                  </a:lnTo>
                  <a:lnTo>
                    <a:pt x="155" y="26"/>
                  </a:lnTo>
                  <a:lnTo>
                    <a:pt x="185" y="0"/>
                  </a:lnTo>
                  <a:lnTo>
                    <a:pt x="213" y="11"/>
                  </a:lnTo>
                  <a:lnTo>
                    <a:pt x="230" y="51"/>
                  </a:lnTo>
                  <a:lnTo>
                    <a:pt x="245" y="36"/>
                  </a:lnTo>
                  <a:lnTo>
                    <a:pt x="285" y="40"/>
                  </a:lnTo>
                  <a:lnTo>
                    <a:pt x="300" y="68"/>
                  </a:lnTo>
                  <a:lnTo>
                    <a:pt x="321" y="72"/>
                  </a:lnTo>
                  <a:lnTo>
                    <a:pt x="306" y="87"/>
                  </a:lnTo>
                  <a:lnTo>
                    <a:pt x="342" y="102"/>
                  </a:lnTo>
                  <a:lnTo>
                    <a:pt x="359" y="125"/>
                  </a:lnTo>
                  <a:lnTo>
                    <a:pt x="336" y="149"/>
                  </a:lnTo>
                  <a:lnTo>
                    <a:pt x="347" y="176"/>
                  </a:lnTo>
                  <a:lnTo>
                    <a:pt x="332" y="187"/>
                  </a:lnTo>
                  <a:lnTo>
                    <a:pt x="334" y="193"/>
                  </a:lnTo>
                  <a:lnTo>
                    <a:pt x="379" y="221"/>
                  </a:lnTo>
                  <a:lnTo>
                    <a:pt x="370" y="230"/>
                  </a:lnTo>
                  <a:lnTo>
                    <a:pt x="387" y="259"/>
                  </a:lnTo>
                  <a:lnTo>
                    <a:pt x="385" y="313"/>
                  </a:lnTo>
                  <a:lnTo>
                    <a:pt x="285" y="421"/>
                  </a:lnTo>
                  <a:lnTo>
                    <a:pt x="262" y="395"/>
                  </a:lnTo>
                  <a:lnTo>
                    <a:pt x="223" y="408"/>
                  </a:lnTo>
                  <a:lnTo>
                    <a:pt x="213" y="372"/>
                  </a:lnTo>
                  <a:lnTo>
                    <a:pt x="100" y="383"/>
                  </a:lnTo>
                  <a:lnTo>
                    <a:pt x="85" y="344"/>
                  </a:lnTo>
                  <a:lnTo>
                    <a:pt x="85" y="304"/>
                  </a:lnTo>
                  <a:lnTo>
                    <a:pt x="58" y="321"/>
                  </a:lnTo>
                  <a:lnTo>
                    <a:pt x="0" y="308"/>
                  </a:lnTo>
                  <a:lnTo>
                    <a:pt x="2" y="30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4" name="Freeform 57">
              <a:extLst>
                <a:ext uri="{FF2B5EF4-FFF2-40B4-BE49-F238E27FC236}">
                  <a16:creationId xmlns:a16="http://schemas.microsoft.com/office/drawing/2014/main" id="{FC242632-9AAE-41ED-9D5B-7FB71D833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451" y="5364925"/>
              <a:ext cx="600358" cy="431459"/>
            </a:xfrm>
            <a:custGeom>
              <a:avLst/>
              <a:gdLst>
                <a:gd name="T0" fmla="*/ 0 w 391"/>
                <a:gd name="T1" fmla="*/ 151 h 281"/>
                <a:gd name="T2" fmla="*/ 26 w 391"/>
                <a:gd name="T3" fmla="*/ 115 h 281"/>
                <a:gd name="T4" fmla="*/ 28 w 391"/>
                <a:gd name="T5" fmla="*/ 62 h 281"/>
                <a:gd name="T6" fmla="*/ 15 w 391"/>
                <a:gd name="T7" fmla="*/ 56 h 281"/>
                <a:gd name="T8" fmla="*/ 70 w 391"/>
                <a:gd name="T9" fmla="*/ 30 h 281"/>
                <a:gd name="T10" fmla="*/ 98 w 391"/>
                <a:gd name="T11" fmla="*/ 58 h 281"/>
                <a:gd name="T12" fmla="*/ 100 w 391"/>
                <a:gd name="T13" fmla="*/ 28 h 281"/>
                <a:gd name="T14" fmla="*/ 121 w 391"/>
                <a:gd name="T15" fmla="*/ 34 h 281"/>
                <a:gd name="T16" fmla="*/ 136 w 391"/>
                <a:gd name="T17" fmla="*/ 17 h 281"/>
                <a:gd name="T18" fmla="*/ 160 w 391"/>
                <a:gd name="T19" fmla="*/ 28 h 281"/>
                <a:gd name="T20" fmla="*/ 234 w 391"/>
                <a:gd name="T21" fmla="*/ 0 h 281"/>
                <a:gd name="T22" fmla="*/ 253 w 391"/>
                <a:gd name="T23" fmla="*/ 20 h 281"/>
                <a:gd name="T24" fmla="*/ 277 w 391"/>
                <a:gd name="T25" fmla="*/ 7 h 281"/>
                <a:gd name="T26" fmla="*/ 306 w 391"/>
                <a:gd name="T27" fmla="*/ 15 h 281"/>
                <a:gd name="T28" fmla="*/ 279 w 391"/>
                <a:gd name="T29" fmla="*/ 51 h 281"/>
                <a:gd name="T30" fmla="*/ 313 w 391"/>
                <a:gd name="T31" fmla="*/ 64 h 281"/>
                <a:gd name="T32" fmla="*/ 315 w 391"/>
                <a:gd name="T33" fmla="*/ 109 h 281"/>
                <a:gd name="T34" fmla="*/ 328 w 391"/>
                <a:gd name="T35" fmla="*/ 109 h 281"/>
                <a:gd name="T36" fmla="*/ 391 w 391"/>
                <a:gd name="T37" fmla="*/ 192 h 281"/>
                <a:gd name="T38" fmla="*/ 353 w 391"/>
                <a:gd name="T39" fmla="*/ 200 h 281"/>
                <a:gd name="T40" fmla="*/ 336 w 391"/>
                <a:gd name="T41" fmla="*/ 264 h 281"/>
                <a:gd name="T42" fmla="*/ 272 w 391"/>
                <a:gd name="T43" fmla="*/ 245 h 281"/>
                <a:gd name="T44" fmla="*/ 232 w 391"/>
                <a:gd name="T45" fmla="*/ 281 h 281"/>
                <a:gd name="T46" fmla="*/ 158 w 391"/>
                <a:gd name="T47" fmla="*/ 266 h 281"/>
                <a:gd name="T48" fmla="*/ 149 w 391"/>
                <a:gd name="T49" fmla="*/ 249 h 281"/>
                <a:gd name="T50" fmla="*/ 119 w 391"/>
                <a:gd name="T51" fmla="*/ 256 h 281"/>
                <a:gd name="T52" fmla="*/ 102 w 391"/>
                <a:gd name="T53" fmla="*/ 200 h 281"/>
                <a:gd name="T54" fmla="*/ 68 w 391"/>
                <a:gd name="T55" fmla="*/ 166 h 281"/>
                <a:gd name="T56" fmla="*/ 47 w 391"/>
                <a:gd name="T57" fmla="*/ 175 h 281"/>
                <a:gd name="T58" fmla="*/ 11 w 391"/>
                <a:gd name="T59" fmla="*/ 170 h 281"/>
                <a:gd name="T60" fmla="*/ 0 w 391"/>
                <a:gd name="T61" fmla="*/ 158 h 281"/>
                <a:gd name="T62" fmla="*/ 0 w 391"/>
                <a:gd name="T63" fmla="*/ 15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1" h="281">
                  <a:moveTo>
                    <a:pt x="0" y="151"/>
                  </a:moveTo>
                  <a:lnTo>
                    <a:pt x="26" y="115"/>
                  </a:lnTo>
                  <a:lnTo>
                    <a:pt x="28" y="62"/>
                  </a:lnTo>
                  <a:lnTo>
                    <a:pt x="15" y="56"/>
                  </a:lnTo>
                  <a:lnTo>
                    <a:pt x="70" y="30"/>
                  </a:lnTo>
                  <a:lnTo>
                    <a:pt x="98" y="58"/>
                  </a:lnTo>
                  <a:lnTo>
                    <a:pt x="100" y="28"/>
                  </a:lnTo>
                  <a:lnTo>
                    <a:pt x="121" y="34"/>
                  </a:lnTo>
                  <a:lnTo>
                    <a:pt x="136" y="17"/>
                  </a:lnTo>
                  <a:lnTo>
                    <a:pt x="160" y="28"/>
                  </a:lnTo>
                  <a:lnTo>
                    <a:pt x="234" y="0"/>
                  </a:lnTo>
                  <a:lnTo>
                    <a:pt x="253" y="20"/>
                  </a:lnTo>
                  <a:lnTo>
                    <a:pt x="277" y="7"/>
                  </a:lnTo>
                  <a:lnTo>
                    <a:pt x="306" y="15"/>
                  </a:lnTo>
                  <a:lnTo>
                    <a:pt x="279" y="51"/>
                  </a:lnTo>
                  <a:lnTo>
                    <a:pt x="313" y="64"/>
                  </a:lnTo>
                  <a:lnTo>
                    <a:pt x="315" y="109"/>
                  </a:lnTo>
                  <a:lnTo>
                    <a:pt x="328" y="109"/>
                  </a:lnTo>
                  <a:lnTo>
                    <a:pt x="391" y="192"/>
                  </a:lnTo>
                  <a:lnTo>
                    <a:pt x="353" y="200"/>
                  </a:lnTo>
                  <a:lnTo>
                    <a:pt x="336" y="264"/>
                  </a:lnTo>
                  <a:lnTo>
                    <a:pt x="272" y="245"/>
                  </a:lnTo>
                  <a:lnTo>
                    <a:pt x="232" y="281"/>
                  </a:lnTo>
                  <a:lnTo>
                    <a:pt x="158" y="266"/>
                  </a:lnTo>
                  <a:lnTo>
                    <a:pt x="149" y="249"/>
                  </a:lnTo>
                  <a:lnTo>
                    <a:pt x="119" y="256"/>
                  </a:lnTo>
                  <a:lnTo>
                    <a:pt x="102" y="200"/>
                  </a:lnTo>
                  <a:lnTo>
                    <a:pt x="68" y="166"/>
                  </a:lnTo>
                  <a:lnTo>
                    <a:pt x="47" y="175"/>
                  </a:lnTo>
                  <a:lnTo>
                    <a:pt x="11" y="170"/>
                  </a:lnTo>
                  <a:lnTo>
                    <a:pt x="0" y="158"/>
                  </a:lnTo>
                  <a:lnTo>
                    <a:pt x="0" y="151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5" name="Freeform 58">
              <a:extLst>
                <a:ext uri="{FF2B5EF4-FFF2-40B4-BE49-F238E27FC236}">
                  <a16:creationId xmlns:a16="http://schemas.microsoft.com/office/drawing/2014/main" id="{11D5446C-F6F9-4D97-824C-6FD59B89E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0946" y="4497400"/>
              <a:ext cx="626460" cy="783075"/>
            </a:xfrm>
            <a:custGeom>
              <a:avLst/>
              <a:gdLst>
                <a:gd name="T0" fmla="*/ 0 w 408"/>
                <a:gd name="T1" fmla="*/ 400 h 510"/>
                <a:gd name="T2" fmla="*/ 13 w 408"/>
                <a:gd name="T3" fmla="*/ 395 h 510"/>
                <a:gd name="T4" fmla="*/ 38 w 408"/>
                <a:gd name="T5" fmla="*/ 389 h 510"/>
                <a:gd name="T6" fmla="*/ 70 w 408"/>
                <a:gd name="T7" fmla="*/ 389 h 510"/>
                <a:gd name="T8" fmla="*/ 57 w 408"/>
                <a:gd name="T9" fmla="*/ 419 h 510"/>
                <a:gd name="T10" fmla="*/ 159 w 408"/>
                <a:gd name="T11" fmla="*/ 417 h 510"/>
                <a:gd name="T12" fmla="*/ 157 w 408"/>
                <a:gd name="T13" fmla="*/ 434 h 510"/>
                <a:gd name="T14" fmla="*/ 223 w 408"/>
                <a:gd name="T15" fmla="*/ 476 h 510"/>
                <a:gd name="T16" fmla="*/ 219 w 408"/>
                <a:gd name="T17" fmla="*/ 506 h 510"/>
                <a:gd name="T18" fmla="*/ 264 w 408"/>
                <a:gd name="T19" fmla="*/ 510 h 510"/>
                <a:gd name="T20" fmla="*/ 274 w 408"/>
                <a:gd name="T21" fmla="*/ 487 h 510"/>
                <a:gd name="T22" fmla="*/ 287 w 408"/>
                <a:gd name="T23" fmla="*/ 502 h 510"/>
                <a:gd name="T24" fmla="*/ 315 w 408"/>
                <a:gd name="T25" fmla="*/ 487 h 510"/>
                <a:gd name="T26" fmla="*/ 306 w 408"/>
                <a:gd name="T27" fmla="*/ 457 h 510"/>
                <a:gd name="T28" fmla="*/ 330 w 408"/>
                <a:gd name="T29" fmla="*/ 451 h 510"/>
                <a:gd name="T30" fmla="*/ 327 w 408"/>
                <a:gd name="T31" fmla="*/ 387 h 510"/>
                <a:gd name="T32" fmla="*/ 376 w 408"/>
                <a:gd name="T33" fmla="*/ 353 h 510"/>
                <a:gd name="T34" fmla="*/ 357 w 408"/>
                <a:gd name="T35" fmla="*/ 332 h 510"/>
                <a:gd name="T36" fmla="*/ 408 w 408"/>
                <a:gd name="T37" fmla="*/ 312 h 510"/>
                <a:gd name="T38" fmla="*/ 408 w 408"/>
                <a:gd name="T39" fmla="*/ 272 h 510"/>
                <a:gd name="T40" fmla="*/ 381 w 408"/>
                <a:gd name="T41" fmla="*/ 289 h 510"/>
                <a:gd name="T42" fmla="*/ 323 w 408"/>
                <a:gd name="T43" fmla="*/ 276 h 510"/>
                <a:gd name="T44" fmla="*/ 325 w 408"/>
                <a:gd name="T45" fmla="*/ 274 h 510"/>
                <a:gd name="T46" fmla="*/ 355 w 408"/>
                <a:gd name="T47" fmla="*/ 198 h 510"/>
                <a:gd name="T48" fmla="*/ 349 w 408"/>
                <a:gd name="T49" fmla="*/ 181 h 510"/>
                <a:gd name="T50" fmla="*/ 327 w 408"/>
                <a:gd name="T51" fmla="*/ 183 h 510"/>
                <a:gd name="T52" fmla="*/ 238 w 408"/>
                <a:gd name="T53" fmla="*/ 161 h 510"/>
                <a:gd name="T54" fmla="*/ 232 w 408"/>
                <a:gd name="T55" fmla="*/ 117 h 510"/>
                <a:gd name="T56" fmla="*/ 193 w 408"/>
                <a:gd name="T57" fmla="*/ 106 h 510"/>
                <a:gd name="T58" fmla="*/ 191 w 408"/>
                <a:gd name="T59" fmla="*/ 89 h 510"/>
                <a:gd name="T60" fmla="*/ 157 w 408"/>
                <a:gd name="T61" fmla="*/ 93 h 510"/>
                <a:gd name="T62" fmla="*/ 172 w 408"/>
                <a:gd name="T63" fmla="*/ 185 h 510"/>
                <a:gd name="T64" fmla="*/ 206 w 408"/>
                <a:gd name="T65" fmla="*/ 213 h 510"/>
                <a:gd name="T66" fmla="*/ 179 w 408"/>
                <a:gd name="T67" fmla="*/ 200 h 510"/>
                <a:gd name="T68" fmla="*/ 196 w 408"/>
                <a:gd name="T69" fmla="*/ 225 h 510"/>
                <a:gd name="T70" fmla="*/ 159 w 408"/>
                <a:gd name="T71" fmla="*/ 185 h 510"/>
                <a:gd name="T72" fmla="*/ 130 w 408"/>
                <a:gd name="T73" fmla="*/ 81 h 510"/>
                <a:gd name="T74" fmla="*/ 68 w 408"/>
                <a:gd name="T75" fmla="*/ 21 h 510"/>
                <a:gd name="T76" fmla="*/ 72 w 408"/>
                <a:gd name="T77" fmla="*/ 0 h 510"/>
                <a:gd name="T78" fmla="*/ 49 w 408"/>
                <a:gd name="T79" fmla="*/ 25 h 510"/>
                <a:gd name="T80" fmla="*/ 0 w 408"/>
                <a:gd name="T81" fmla="*/ 344 h 510"/>
                <a:gd name="T82" fmla="*/ 30 w 408"/>
                <a:gd name="T83" fmla="*/ 293 h 510"/>
                <a:gd name="T84" fmla="*/ 64 w 408"/>
                <a:gd name="T85" fmla="*/ 327 h 510"/>
                <a:gd name="T86" fmla="*/ 17 w 408"/>
                <a:gd name="T87" fmla="*/ 332 h 510"/>
                <a:gd name="T88" fmla="*/ 0 w 408"/>
                <a:gd name="T89" fmla="*/ 40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8" h="510">
                  <a:moveTo>
                    <a:pt x="0" y="400"/>
                  </a:moveTo>
                  <a:lnTo>
                    <a:pt x="13" y="395"/>
                  </a:lnTo>
                  <a:lnTo>
                    <a:pt x="38" y="389"/>
                  </a:lnTo>
                  <a:lnTo>
                    <a:pt x="70" y="389"/>
                  </a:lnTo>
                  <a:lnTo>
                    <a:pt x="57" y="419"/>
                  </a:lnTo>
                  <a:lnTo>
                    <a:pt x="159" y="417"/>
                  </a:lnTo>
                  <a:lnTo>
                    <a:pt x="157" y="434"/>
                  </a:lnTo>
                  <a:lnTo>
                    <a:pt x="223" y="476"/>
                  </a:lnTo>
                  <a:lnTo>
                    <a:pt x="219" y="506"/>
                  </a:lnTo>
                  <a:lnTo>
                    <a:pt x="264" y="510"/>
                  </a:lnTo>
                  <a:lnTo>
                    <a:pt x="274" y="487"/>
                  </a:lnTo>
                  <a:lnTo>
                    <a:pt x="287" y="502"/>
                  </a:lnTo>
                  <a:lnTo>
                    <a:pt x="315" y="487"/>
                  </a:lnTo>
                  <a:lnTo>
                    <a:pt x="306" y="457"/>
                  </a:lnTo>
                  <a:lnTo>
                    <a:pt x="330" y="451"/>
                  </a:lnTo>
                  <a:lnTo>
                    <a:pt x="327" y="387"/>
                  </a:lnTo>
                  <a:lnTo>
                    <a:pt x="376" y="353"/>
                  </a:lnTo>
                  <a:lnTo>
                    <a:pt x="357" y="332"/>
                  </a:lnTo>
                  <a:lnTo>
                    <a:pt x="408" y="312"/>
                  </a:lnTo>
                  <a:lnTo>
                    <a:pt x="408" y="272"/>
                  </a:lnTo>
                  <a:lnTo>
                    <a:pt x="381" y="289"/>
                  </a:lnTo>
                  <a:lnTo>
                    <a:pt x="323" y="276"/>
                  </a:lnTo>
                  <a:lnTo>
                    <a:pt x="325" y="274"/>
                  </a:lnTo>
                  <a:lnTo>
                    <a:pt x="355" y="198"/>
                  </a:lnTo>
                  <a:lnTo>
                    <a:pt x="349" y="181"/>
                  </a:lnTo>
                  <a:lnTo>
                    <a:pt x="327" y="183"/>
                  </a:lnTo>
                  <a:lnTo>
                    <a:pt x="238" y="161"/>
                  </a:lnTo>
                  <a:lnTo>
                    <a:pt x="232" y="117"/>
                  </a:lnTo>
                  <a:lnTo>
                    <a:pt x="193" y="106"/>
                  </a:lnTo>
                  <a:lnTo>
                    <a:pt x="191" y="89"/>
                  </a:lnTo>
                  <a:lnTo>
                    <a:pt x="157" y="93"/>
                  </a:lnTo>
                  <a:lnTo>
                    <a:pt x="172" y="185"/>
                  </a:lnTo>
                  <a:lnTo>
                    <a:pt x="206" y="213"/>
                  </a:lnTo>
                  <a:lnTo>
                    <a:pt x="179" y="200"/>
                  </a:lnTo>
                  <a:lnTo>
                    <a:pt x="196" y="225"/>
                  </a:lnTo>
                  <a:lnTo>
                    <a:pt x="159" y="185"/>
                  </a:lnTo>
                  <a:lnTo>
                    <a:pt x="130" y="81"/>
                  </a:lnTo>
                  <a:lnTo>
                    <a:pt x="68" y="21"/>
                  </a:lnTo>
                  <a:lnTo>
                    <a:pt x="72" y="0"/>
                  </a:lnTo>
                  <a:lnTo>
                    <a:pt x="49" y="25"/>
                  </a:lnTo>
                  <a:lnTo>
                    <a:pt x="0" y="344"/>
                  </a:lnTo>
                  <a:lnTo>
                    <a:pt x="30" y="293"/>
                  </a:lnTo>
                  <a:lnTo>
                    <a:pt x="64" y="327"/>
                  </a:lnTo>
                  <a:lnTo>
                    <a:pt x="17" y="332"/>
                  </a:lnTo>
                  <a:lnTo>
                    <a:pt x="0" y="40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6" name="Freeform 59">
              <a:extLst>
                <a:ext uri="{FF2B5EF4-FFF2-40B4-BE49-F238E27FC236}">
                  <a16:creationId xmlns:a16="http://schemas.microsoft.com/office/drawing/2014/main" id="{D6B9D120-1DBD-41A2-8DCF-D5E5FFDBD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1501" y="3580743"/>
              <a:ext cx="506695" cy="518979"/>
            </a:xfrm>
            <a:custGeom>
              <a:avLst/>
              <a:gdLst>
                <a:gd name="T0" fmla="*/ 2 w 330"/>
                <a:gd name="T1" fmla="*/ 191 h 338"/>
                <a:gd name="T2" fmla="*/ 9 w 330"/>
                <a:gd name="T3" fmla="*/ 244 h 338"/>
                <a:gd name="T4" fmla="*/ 68 w 330"/>
                <a:gd name="T5" fmla="*/ 278 h 338"/>
                <a:gd name="T6" fmla="*/ 68 w 330"/>
                <a:gd name="T7" fmla="*/ 299 h 338"/>
                <a:gd name="T8" fmla="*/ 83 w 330"/>
                <a:gd name="T9" fmla="*/ 306 h 338"/>
                <a:gd name="T10" fmla="*/ 75 w 330"/>
                <a:gd name="T11" fmla="*/ 323 h 338"/>
                <a:gd name="T12" fmla="*/ 119 w 330"/>
                <a:gd name="T13" fmla="*/ 318 h 338"/>
                <a:gd name="T14" fmla="*/ 136 w 330"/>
                <a:gd name="T15" fmla="*/ 338 h 338"/>
                <a:gd name="T16" fmla="*/ 162 w 330"/>
                <a:gd name="T17" fmla="*/ 310 h 338"/>
                <a:gd name="T18" fmla="*/ 211 w 330"/>
                <a:gd name="T19" fmla="*/ 325 h 338"/>
                <a:gd name="T20" fmla="*/ 230 w 330"/>
                <a:gd name="T21" fmla="*/ 301 h 338"/>
                <a:gd name="T22" fmla="*/ 323 w 330"/>
                <a:gd name="T23" fmla="*/ 314 h 338"/>
                <a:gd name="T24" fmla="*/ 330 w 330"/>
                <a:gd name="T25" fmla="*/ 233 h 338"/>
                <a:gd name="T26" fmla="*/ 300 w 330"/>
                <a:gd name="T27" fmla="*/ 199 h 338"/>
                <a:gd name="T28" fmla="*/ 313 w 330"/>
                <a:gd name="T29" fmla="*/ 187 h 338"/>
                <a:gd name="T30" fmla="*/ 296 w 330"/>
                <a:gd name="T31" fmla="*/ 165 h 338"/>
                <a:gd name="T32" fmla="*/ 323 w 330"/>
                <a:gd name="T33" fmla="*/ 138 h 338"/>
                <a:gd name="T34" fmla="*/ 302 w 330"/>
                <a:gd name="T35" fmla="*/ 127 h 338"/>
                <a:gd name="T36" fmla="*/ 313 w 330"/>
                <a:gd name="T37" fmla="*/ 104 h 338"/>
                <a:gd name="T38" fmla="*/ 285 w 330"/>
                <a:gd name="T39" fmla="*/ 57 h 338"/>
                <a:gd name="T40" fmla="*/ 230 w 330"/>
                <a:gd name="T41" fmla="*/ 55 h 338"/>
                <a:gd name="T42" fmla="*/ 232 w 330"/>
                <a:gd name="T43" fmla="*/ 53 h 338"/>
                <a:gd name="T44" fmla="*/ 247 w 330"/>
                <a:gd name="T45" fmla="*/ 23 h 338"/>
                <a:gd name="T46" fmla="*/ 187 w 330"/>
                <a:gd name="T47" fmla="*/ 0 h 338"/>
                <a:gd name="T48" fmla="*/ 122 w 330"/>
                <a:gd name="T49" fmla="*/ 31 h 338"/>
                <a:gd name="T50" fmla="*/ 126 w 330"/>
                <a:gd name="T51" fmla="*/ 59 h 338"/>
                <a:gd name="T52" fmla="*/ 100 w 330"/>
                <a:gd name="T53" fmla="*/ 91 h 338"/>
                <a:gd name="T54" fmla="*/ 75 w 330"/>
                <a:gd name="T55" fmla="*/ 85 h 338"/>
                <a:gd name="T56" fmla="*/ 49 w 330"/>
                <a:gd name="T57" fmla="*/ 99 h 338"/>
                <a:gd name="T58" fmla="*/ 34 w 330"/>
                <a:gd name="T59" fmla="*/ 184 h 338"/>
                <a:gd name="T60" fmla="*/ 0 w 330"/>
                <a:gd name="T61" fmla="*/ 187 h 338"/>
                <a:gd name="T62" fmla="*/ 2 w 330"/>
                <a:gd name="T63" fmla="*/ 19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0" h="338">
                  <a:moveTo>
                    <a:pt x="2" y="191"/>
                  </a:moveTo>
                  <a:lnTo>
                    <a:pt x="9" y="244"/>
                  </a:lnTo>
                  <a:lnTo>
                    <a:pt x="68" y="278"/>
                  </a:lnTo>
                  <a:lnTo>
                    <a:pt x="68" y="299"/>
                  </a:lnTo>
                  <a:lnTo>
                    <a:pt x="83" y="306"/>
                  </a:lnTo>
                  <a:lnTo>
                    <a:pt x="75" y="323"/>
                  </a:lnTo>
                  <a:lnTo>
                    <a:pt x="119" y="318"/>
                  </a:lnTo>
                  <a:lnTo>
                    <a:pt x="136" y="338"/>
                  </a:lnTo>
                  <a:lnTo>
                    <a:pt x="162" y="310"/>
                  </a:lnTo>
                  <a:lnTo>
                    <a:pt x="211" y="325"/>
                  </a:lnTo>
                  <a:lnTo>
                    <a:pt x="230" y="301"/>
                  </a:lnTo>
                  <a:lnTo>
                    <a:pt x="323" y="314"/>
                  </a:lnTo>
                  <a:lnTo>
                    <a:pt x="330" y="233"/>
                  </a:lnTo>
                  <a:lnTo>
                    <a:pt x="300" y="199"/>
                  </a:lnTo>
                  <a:lnTo>
                    <a:pt x="313" y="187"/>
                  </a:lnTo>
                  <a:lnTo>
                    <a:pt x="296" y="165"/>
                  </a:lnTo>
                  <a:lnTo>
                    <a:pt x="323" y="138"/>
                  </a:lnTo>
                  <a:lnTo>
                    <a:pt x="302" y="127"/>
                  </a:lnTo>
                  <a:lnTo>
                    <a:pt x="313" y="104"/>
                  </a:lnTo>
                  <a:lnTo>
                    <a:pt x="285" y="57"/>
                  </a:lnTo>
                  <a:lnTo>
                    <a:pt x="230" y="55"/>
                  </a:lnTo>
                  <a:lnTo>
                    <a:pt x="232" y="53"/>
                  </a:lnTo>
                  <a:lnTo>
                    <a:pt x="247" y="23"/>
                  </a:lnTo>
                  <a:lnTo>
                    <a:pt x="187" y="0"/>
                  </a:lnTo>
                  <a:lnTo>
                    <a:pt x="122" y="31"/>
                  </a:lnTo>
                  <a:lnTo>
                    <a:pt x="126" y="59"/>
                  </a:lnTo>
                  <a:lnTo>
                    <a:pt x="100" y="91"/>
                  </a:lnTo>
                  <a:lnTo>
                    <a:pt x="75" y="85"/>
                  </a:lnTo>
                  <a:lnTo>
                    <a:pt x="49" y="99"/>
                  </a:lnTo>
                  <a:lnTo>
                    <a:pt x="34" y="184"/>
                  </a:lnTo>
                  <a:lnTo>
                    <a:pt x="0" y="187"/>
                  </a:lnTo>
                  <a:lnTo>
                    <a:pt x="2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7" name="Freeform 60">
              <a:extLst>
                <a:ext uri="{FF2B5EF4-FFF2-40B4-BE49-F238E27FC236}">
                  <a16:creationId xmlns:a16="http://schemas.microsoft.com/office/drawing/2014/main" id="{CD8A97E8-1441-4B10-A277-D672DDDD4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1221" y="5094687"/>
              <a:ext cx="687877" cy="568113"/>
            </a:xfrm>
            <a:custGeom>
              <a:avLst/>
              <a:gdLst>
                <a:gd name="T0" fmla="*/ 4 w 448"/>
                <a:gd name="T1" fmla="*/ 351 h 370"/>
                <a:gd name="T2" fmla="*/ 38 w 448"/>
                <a:gd name="T3" fmla="*/ 364 h 370"/>
                <a:gd name="T4" fmla="*/ 93 w 448"/>
                <a:gd name="T5" fmla="*/ 349 h 370"/>
                <a:gd name="T6" fmla="*/ 100 w 448"/>
                <a:gd name="T7" fmla="*/ 370 h 370"/>
                <a:gd name="T8" fmla="*/ 199 w 448"/>
                <a:gd name="T9" fmla="*/ 342 h 370"/>
                <a:gd name="T10" fmla="*/ 240 w 448"/>
                <a:gd name="T11" fmla="*/ 359 h 370"/>
                <a:gd name="T12" fmla="*/ 280 w 448"/>
                <a:gd name="T13" fmla="*/ 342 h 370"/>
                <a:gd name="T14" fmla="*/ 287 w 448"/>
                <a:gd name="T15" fmla="*/ 357 h 370"/>
                <a:gd name="T16" fmla="*/ 342 w 448"/>
                <a:gd name="T17" fmla="*/ 346 h 370"/>
                <a:gd name="T18" fmla="*/ 331 w 448"/>
                <a:gd name="T19" fmla="*/ 334 h 370"/>
                <a:gd name="T20" fmla="*/ 331 w 448"/>
                <a:gd name="T21" fmla="*/ 327 h 370"/>
                <a:gd name="T22" fmla="*/ 357 w 448"/>
                <a:gd name="T23" fmla="*/ 291 h 370"/>
                <a:gd name="T24" fmla="*/ 359 w 448"/>
                <a:gd name="T25" fmla="*/ 238 h 370"/>
                <a:gd name="T26" fmla="*/ 346 w 448"/>
                <a:gd name="T27" fmla="*/ 232 h 370"/>
                <a:gd name="T28" fmla="*/ 401 w 448"/>
                <a:gd name="T29" fmla="*/ 206 h 370"/>
                <a:gd name="T30" fmla="*/ 429 w 448"/>
                <a:gd name="T31" fmla="*/ 234 h 370"/>
                <a:gd name="T32" fmla="*/ 431 w 448"/>
                <a:gd name="T33" fmla="*/ 204 h 370"/>
                <a:gd name="T34" fmla="*/ 448 w 448"/>
                <a:gd name="T35" fmla="*/ 155 h 370"/>
                <a:gd name="T36" fmla="*/ 380 w 448"/>
                <a:gd name="T37" fmla="*/ 140 h 370"/>
                <a:gd name="T38" fmla="*/ 380 w 448"/>
                <a:gd name="T39" fmla="*/ 119 h 370"/>
                <a:gd name="T40" fmla="*/ 378 w 448"/>
                <a:gd name="T41" fmla="*/ 113 h 370"/>
                <a:gd name="T42" fmla="*/ 365 w 448"/>
                <a:gd name="T43" fmla="*/ 98 h 370"/>
                <a:gd name="T44" fmla="*/ 355 w 448"/>
                <a:gd name="T45" fmla="*/ 121 h 370"/>
                <a:gd name="T46" fmla="*/ 310 w 448"/>
                <a:gd name="T47" fmla="*/ 117 h 370"/>
                <a:gd name="T48" fmla="*/ 314 w 448"/>
                <a:gd name="T49" fmla="*/ 87 h 370"/>
                <a:gd name="T50" fmla="*/ 248 w 448"/>
                <a:gd name="T51" fmla="*/ 45 h 370"/>
                <a:gd name="T52" fmla="*/ 250 w 448"/>
                <a:gd name="T53" fmla="*/ 28 h 370"/>
                <a:gd name="T54" fmla="*/ 148 w 448"/>
                <a:gd name="T55" fmla="*/ 30 h 370"/>
                <a:gd name="T56" fmla="*/ 161 w 448"/>
                <a:gd name="T57" fmla="*/ 0 h 370"/>
                <a:gd name="T58" fmla="*/ 129 w 448"/>
                <a:gd name="T59" fmla="*/ 0 h 370"/>
                <a:gd name="T60" fmla="*/ 104 w 448"/>
                <a:gd name="T61" fmla="*/ 6 h 370"/>
                <a:gd name="T62" fmla="*/ 91 w 448"/>
                <a:gd name="T63" fmla="*/ 11 h 370"/>
                <a:gd name="T64" fmla="*/ 23 w 448"/>
                <a:gd name="T65" fmla="*/ 302 h 370"/>
                <a:gd name="T66" fmla="*/ 0 w 448"/>
                <a:gd name="T67" fmla="*/ 349 h 370"/>
                <a:gd name="T68" fmla="*/ 4 w 448"/>
                <a:gd name="T69" fmla="*/ 351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8" h="370">
                  <a:moveTo>
                    <a:pt x="4" y="351"/>
                  </a:moveTo>
                  <a:lnTo>
                    <a:pt x="38" y="364"/>
                  </a:lnTo>
                  <a:lnTo>
                    <a:pt x="93" y="349"/>
                  </a:lnTo>
                  <a:lnTo>
                    <a:pt x="100" y="370"/>
                  </a:lnTo>
                  <a:lnTo>
                    <a:pt x="199" y="342"/>
                  </a:lnTo>
                  <a:lnTo>
                    <a:pt x="240" y="359"/>
                  </a:lnTo>
                  <a:lnTo>
                    <a:pt x="280" y="342"/>
                  </a:lnTo>
                  <a:lnTo>
                    <a:pt x="287" y="357"/>
                  </a:lnTo>
                  <a:lnTo>
                    <a:pt x="342" y="346"/>
                  </a:lnTo>
                  <a:lnTo>
                    <a:pt x="331" y="334"/>
                  </a:lnTo>
                  <a:lnTo>
                    <a:pt x="331" y="327"/>
                  </a:lnTo>
                  <a:lnTo>
                    <a:pt x="357" y="291"/>
                  </a:lnTo>
                  <a:lnTo>
                    <a:pt x="359" y="238"/>
                  </a:lnTo>
                  <a:lnTo>
                    <a:pt x="346" y="232"/>
                  </a:lnTo>
                  <a:lnTo>
                    <a:pt x="401" y="206"/>
                  </a:lnTo>
                  <a:lnTo>
                    <a:pt x="429" y="234"/>
                  </a:lnTo>
                  <a:lnTo>
                    <a:pt x="431" y="204"/>
                  </a:lnTo>
                  <a:lnTo>
                    <a:pt x="448" y="155"/>
                  </a:lnTo>
                  <a:lnTo>
                    <a:pt x="380" y="140"/>
                  </a:lnTo>
                  <a:lnTo>
                    <a:pt x="380" y="119"/>
                  </a:lnTo>
                  <a:lnTo>
                    <a:pt x="378" y="113"/>
                  </a:lnTo>
                  <a:lnTo>
                    <a:pt x="365" y="98"/>
                  </a:lnTo>
                  <a:lnTo>
                    <a:pt x="355" y="121"/>
                  </a:lnTo>
                  <a:lnTo>
                    <a:pt x="310" y="117"/>
                  </a:lnTo>
                  <a:lnTo>
                    <a:pt x="314" y="87"/>
                  </a:lnTo>
                  <a:lnTo>
                    <a:pt x="248" y="45"/>
                  </a:lnTo>
                  <a:lnTo>
                    <a:pt x="250" y="28"/>
                  </a:lnTo>
                  <a:lnTo>
                    <a:pt x="148" y="30"/>
                  </a:lnTo>
                  <a:lnTo>
                    <a:pt x="161" y="0"/>
                  </a:lnTo>
                  <a:lnTo>
                    <a:pt x="129" y="0"/>
                  </a:lnTo>
                  <a:lnTo>
                    <a:pt x="104" y="6"/>
                  </a:lnTo>
                  <a:lnTo>
                    <a:pt x="91" y="11"/>
                  </a:lnTo>
                  <a:lnTo>
                    <a:pt x="23" y="302"/>
                  </a:lnTo>
                  <a:lnTo>
                    <a:pt x="0" y="349"/>
                  </a:lnTo>
                  <a:lnTo>
                    <a:pt x="4" y="351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8" name="Freeform 61">
              <a:extLst>
                <a:ext uri="{FF2B5EF4-FFF2-40B4-BE49-F238E27FC236}">
                  <a16:creationId xmlns:a16="http://schemas.microsoft.com/office/drawing/2014/main" id="{30253B89-5153-4AC5-B023-3D43CC660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1617" y="4976458"/>
              <a:ext cx="492877" cy="440672"/>
            </a:xfrm>
            <a:custGeom>
              <a:avLst/>
              <a:gdLst>
                <a:gd name="T0" fmla="*/ 2 w 321"/>
                <a:gd name="T1" fmla="*/ 196 h 287"/>
                <a:gd name="T2" fmla="*/ 2 w 321"/>
                <a:gd name="T3" fmla="*/ 217 h 287"/>
                <a:gd name="T4" fmla="*/ 70 w 321"/>
                <a:gd name="T5" fmla="*/ 232 h 287"/>
                <a:gd name="T6" fmla="*/ 53 w 321"/>
                <a:gd name="T7" fmla="*/ 281 h 287"/>
                <a:gd name="T8" fmla="*/ 74 w 321"/>
                <a:gd name="T9" fmla="*/ 287 h 287"/>
                <a:gd name="T10" fmla="*/ 89 w 321"/>
                <a:gd name="T11" fmla="*/ 270 h 287"/>
                <a:gd name="T12" fmla="*/ 113 w 321"/>
                <a:gd name="T13" fmla="*/ 281 h 287"/>
                <a:gd name="T14" fmla="*/ 187 w 321"/>
                <a:gd name="T15" fmla="*/ 253 h 287"/>
                <a:gd name="T16" fmla="*/ 206 w 321"/>
                <a:gd name="T17" fmla="*/ 273 h 287"/>
                <a:gd name="T18" fmla="*/ 230 w 321"/>
                <a:gd name="T19" fmla="*/ 260 h 287"/>
                <a:gd name="T20" fmla="*/ 230 w 321"/>
                <a:gd name="T21" fmla="*/ 251 h 287"/>
                <a:gd name="T22" fmla="*/ 242 w 321"/>
                <a:gd name="T23" fmla="*/ 232 h 287"/>
                <a:gd name="T24" fmla="*/ 266 w 321"/>
                <a:gd name="T25" fmla="*/ 236 h 287"/>
                <a:gd name="T26" fmla="*/ 259 w 321"/>
                <a:gd name="T27" fmla="*/ 219 h 287"/>
                <a:gd name="T28" fmla="*/ 285 w 321"/>
                <a:gd name="T29" fmla="*/ 185 h 287"/>
                <a:gd name="T30" fmla="*/ 266 w 321"/>
                <a:gd name="T31" fmla="*/ 171 h 287"/>
                <a:gd name="T32" fmla="*/ 272 w 321"/>
                <a:gd name="T33" fmla="*/ 149 h 287"/>
                <a:gd name="T34" fmla="*/ 317 w 321"/>
                <a:gd name="T35" fmla="*/ 147 h 287"/>
                <a:gd name="T36" fmla="*/ 298 w 321"/>
                <a:gd name="T37" fmla="*/ 88 h 287"/>
                <a:gd name="T38" fmla="*/ 300 w 321"/>
                <a:gd name="T39" fmla="*/ 85 h 287"/>
                <a:gd name="T40" fmla="*/ 321 w 321"/>
                <a:gd name="T41" fmla="*/ 77 h 287"/>
                <a:gd name="T42" fmla="*/ 298 w 321"/>
                <a:gd name="T43" fmla="*/ 51 h 287"/>
                <a:gd name="T44" fmla="*/ 259 w 321"/>
                <a:gd name="T45" fmla="*/ 64 h 287"/>
                <a:gd name="T46" fmla="*/ 249 w 321"/>
                <a:gd name="T47" fmla="*/ 28 h 287"/>
                <a:gd name="T48" fmla="*/ 136 w 321"/>
                <a:gd name="T49" fmla="*/ 39 h 287"/>
                <a:gd name="T50" fmla="*/ 121 w 321"/>
                <a:gd name="T51" fmla="*/ 0 h 287"/>
                <a:gd name="T52" fmla="*/ 70 w 321"/>
                <a:gd name="T53" fmla="*/ 20 h 287"/>
                <a:gd name="T54" fmla="*/ 89 w 321"/>
                <a:gd name="T55" fmla="*/ 41 h 287"/>
                <a:gd name="T56" fmla="*/ 40 w 321"/>
                <a:gd name="T57" fmla="*/ 75 h 287"/>
                <a:gd name="T58" fmla="*/ 43 w 321"/>
                <a:gd name="T59" fmla="*/ 139 h 287"/>
                <a:gd name="T60" fmla="*/ 19 w 321"/>
                <a:gd name="T61" fmla="*/ 145 h 287"/>
                <a:gd name="T62" fmla="*/ 28 w 321"/>
                <a:gd name="T63" fmla="*/ 175 h 287"/>
                <a:gd name="T64" fmla="*/ 0 w 321"/>
                <a:gd name="T65" fmla="*/ 190 h 287"/>
                <a:gd name="T66" fmla="*/ 2 w 321"/>
                <a:gd name="T67" fmla="*/ 196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1" h="287">
                  <a:moveTo>
                    <a:pt x="2" y="196"/>
                  </a:moveTo>
                  <a:lnTo>
                    <a:pt x="2" y="217"/>
                  </a:lnTo>
                  <a:lnTo>
                    <a:pt x="70" y="232"/>
                  </a:lnTo>
                  <a:lnTo>
                    <a:pt x="53" y="281"/>
                  </a:lnTo>
                  <a:lnTo>
                    <a:pt x="74" y="287"/>
                  </a:lnTo>
                  <a:lnTo>
                    <a:pt x="89" y="270"/>
                  </a:lnTo>
                  <a:lnTo>
                    <a:pt x="113" y="281"/>
                  </a:lnTo>
                  <a:lnTo>
                    <a:pt x="187" y="253"/>
                  </a:lnTo>
                  <a:lnTo>
                    <a:pt x="206" y="273"/>
                  </a:lnTo>
                  <a:lnTo>
                    <a:pt x="230" y="260"/>
                  </a:lnTo>
                  <a:lnTo>
                    <a:pt x="230" y="251"/>
                  </a:lnTo>
                  <a:lnTo>
                    <a:pt x="242" y="232"/>
                  </a:lnTo>
                  <a:lnTo>
                    <a:pt x="266" y="236"/>
                  </a:lnTo>
                  <a:lnTo>
                    <a:pt x="259" y="219"/>
                  </a:lnTo>
                  <a:lnTo>
                    <a:pt x="285" y="185"/>
                  </a:lnTo>
                  <a:lnTo>
                    <a:pt x="266" y="171"/>
                  </a:lnTo>
                  <a:lnTo>
                    <a:pt x="272" y="149"/>
                  </a:lnTo>
                  <a:lnTo>
                    <a:pt x="317" y="147"/>
                  </a:lnTo>
                  <a:lnTo>
                    <a:pt x="298" y="88"/>
                  </a:lnTo>
                  <a:lnTo>
                    <a:pt x="300" y="85"/>
                  </a:lnTo>
                  <a:lnTo>
                    <a:pt x="321" y="77"/>
                  </a:lnTo>
                  <a:lnTo>
                    <a:pt x="298" y="51"/>
                  </a:lnTo>
                  <a:lnTo>
                    <a:pt x="259" y="64"/>
                  </a:lnTo>
                  <a:lnTo>
                    <a:pt x="249" y="28"/>
                  </a:lnTo>
                  <a:lnTo>
                    <a:pt x="136" y="39"/>
                  </a:lnTo>
                  <a:lnTo>
                    <a:pt x="121" y="0"/>
                  </a:lnTo>
                  <a:lnTo>
                    <a:pt x="70" y="20"/>
                  </a:lnTo>
                  <a:lnTo>
                    <a:pt x="89" y="41"/>
                  </a:lnTo>
                  <a:lnTo>
                    <a:pt x="40" y="75"/>
                  </a:lnTo>
                  <a:lnTo>
                    <a:pt x="43" y="139"/>
                  </a:lnTo>
                  <a:lnTo>
                    <a:pt x="19" y="145"/>
                  </a:lnTo>
                  <a:lnTo>
                    <a:pt x="28" y="175"/>
                  </a:lnTo>
                  <a:lnTo>
                    <a:pt x="0" y="190"/>
                  </a:lnTo>
                  <a:lnTo>
                    <a:pt x="2" y="19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9" name="Freeform 62">
              <a:extLst>
                <a:ext uri="{FF2B5EF4-FFF2-40B4-BE49-F238E27FC236}">
                  <a16:creationId xmlns:a16="http://schemas.microsoft.com/office/drawing/2014/main" id="{37FA38AB-9E77-4008-B0BB-8F107E2E4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7607" y="4885867"/>
              <a:ext cx="411498" cy="479057"/>
            </a:xfrm>
            <a:custGeom>
              <a:avLst/>
              <a:gdLst>
                <a:gd name="T0" fmla="*/ 5 w 268"/>
                <a:gd name="T1" fmla="*/ 113 h 312"/>
                <a:gd name="T2" fmla="*/ 32 w 268"/>
                <a:gd name="T3" fmla="*/ 32 h 312"/>
                <a:gd name="T4" fmla="*/ 54 w 268"/>
                <a:gd name="T5" fmla="*/ 38 h 312"/>
                <a:gd name="T6" fmla="*/ 68 w 268"/>
                <a:gd name="T7" fmla="*/ 11 h 312"/>
                <a:gd name="T8" fmla="*/ 100 w 268"/>
                <a:gd name="T9" fmla="*/ 0 h 312"/>
                <a:gd name="T10" fmla="*/ 130 w 268"/>
                <a:gd name="T11" fmla="*/ 59 h 312"/>
                <a:gd name="T12" fmla="*/ 175 w 268"/>
                <a:gd name="T13" fmla="*/ 34 h 312"/>
                <a:gd name="T14" fmla="*/ 230 w 268"/>
                <a:gd name="T15" fmla="*/ 83 h 312"/>
                <a:gd name="T16" fmla="*/ 230 w 268"/>
                <a:gd name="T17" fmla="*/ 93 h 312"/>
                <a:gd name="T18" fmla="*/ 232 w 268"/>
                <a:gd name="T19" fmla="*/ 100 h 312"/>
                <a:gd name="T20" fmla="*/ 268 w 268"/>
                <a:gd name="T21" fmla="*/ 185 h 312"/>
                <a:gd name="T22" fmla="*/ 238 w 268"/>
                <a:gd name="T23" fmla="*/ 212 h 312"/>
                <a:gd name="T24" fmla="*/ 255 w 268"/>
                <a:gd name="T25" fmla="*/ 232 h 312"/>
                <a:gd name="T26" fmla="*/ 260 w 268"/>
                <a:gd name="T27" fmla="*/ 293 h 312"/>
                <a:gd name="T28" fmla="*/ 215 w 268"/>
                <a:gd name="T29" fmla="*/ 308 h 312"/>
                <a:gd name="T30" fmla="*/ 183 w 268"/>
                <a:gd name="T31" fmla="*/ 287 h 312"/>
                <a:gd name="T32" fmla="*/ 170 w 268"/>
                <a:gd name="T33" fmla="*/ 310 h 312"/>
                <a:gd name="T34" fmla="*/ 149 w 268"/>
                <a:gd name="T35" fmla="*/ 312 h 312"/>
                <a:gd name="T36" fmla="*/ 102 w 268"/>
                <a:gd name="T37" fmla="*/ 293 h 312"/>
                <a:gd name="T38" fmla="*/ 58 w 268"/>
                <a:gd name="T39" fmla="*/ 285 h 312"/>
                <a:gd name="T40" fmla="*/ 64 w 268"/>
                <a:gd name="T41" fmla="*/ 270 h 312"/>
                <a:gd name="T42" fmla="*/ 37 w 268"/>
                <a:gd name="T43" fmla="*/ 259 h 312"/>
                <a:gd name="T44" fmla="*/ 43 w 268"/>
                <a:gd name="T45" fmla="*/ 193 h 312"/>
                <a:gd name="T46" fmla="*/ 0 w 268"/>
                <a:gd name="T47" fmla="*/ 119 h 312"/>
                <a:gd name="T48" fmla="*/ 5 w 268"/>
                <a:gd name="T49" fmla="*/ 113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8" h="312">
                  <a:moveTo>
                    <a:pt x="5" y="113"/>
                  </a:moveTo>
                  <a:lnTo>
                    <a:pt x="32" y="32"/>
                  </a:lnTo>
                  <a:lnTo>
                    <a:pt x="54" y="38"/>
                  </a:lnTo>
                  <a:lnTo>
                    <a:pt x="68" y="11"/>
                  </a:lnTo>
                  <a:lnTo>
                    <a:pt x="100" y="0"/>
                  </a:lnTo>
                  <a:lnTo>
                    <a:pt x="130" y="59"/>
                  </a:lnTo>
                  <a:lnTo>
                    <a:pt x="175" y="34"/>
                  </a:lnTo>
                  <a:lnTo>
                    <a:pt x="230" y="83"/>
                  </a:lnTo>
                  <a:lnTo>
                    <a:pt x="230" y="93"/>
                  </a:lnTo>
                  <a:lnTo>
                    <a:pt x="232" y="100"/>
                  </a:lnTo>
                  <a:lnTo>
                    <a:pt x="268" y="185"/>
                  </a:lnTo>
                  <a:lnTo>
                    <a:pt x="238" y="212"/>
                  </a:lnTo>
                  <a:lnTo>
                    <a:pt x="255" y="232"/>
                  </a:lnTo>
                  <a:lnTo>
                    <a:pt x="260" y="293"/>
                  </a:lnTo>
                  <a:lnTo>
                    <a:pt x="215" y="308"/>
                  </a:lnTo>
                  <a:lnTo>
                    <a:pt x="183" y="287"/>
                  </a:lnTo>
                  <a:lnTo>
                    <a:pt x="170" y="310"/>
                  </a:lnTo>
                  <a:lnTo>
                    <a:pt x="149" y="312"/>
                  </a:lnTo>
                  <a:lnTo>
                    <a:pt x="102" y="293"/>
                  </a:lnTo>
                  <a:lnTo>
                    <a:pt x="58" y="285"/>
                  </a:lnTo>
                  <a:lnTo>
                    <a:pt x="64" y="270"/>
                  </a:lnTo>
                  <a:lnTo>
                    <a:pt x="37" y="259"/>
                  </a:lnTo>
                  <a:lnTo>
                    <a:pt x="43" y="193"/>
                  </a:lnTo>
                  <a:lnTo>
                    <a:pt x="0" y="119"/>
                  </a:lnTo>
                  <a:lnTo>
                    <a:pt x="5" y="1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0" name="Freeform 63">
              <a:extLst>
                <a:ext uri="{FF2B5EF4-FFF2-40B4-BE49-F238E27FC236}">
                  <a16:creationId xmlns:a16="http://schemas.microsoft.com/office/drawing/2014/main" id="{8C784117-1934-44B6-8008-170BA7BCE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292" y="3236804"/>
              <a:ext cx="604963" cy="474452"/>
            </a:xfrm>
            <a:custGeom>
              <a:avLst/>
              <a:gdLst>
                <a:gd name="T0" fmla="*/ 0 w 394"/>
                <a:gd name="T1" fmla="*/ 181 h 309"/>
                <a:gd name="T2" fmla="*/ 107 w 394"/>
                <a:gd name="T3" fmla="*/ 155 h 309"/>
                <a:gd name="T4" fmla="*/ 94 w 394"/>
                <a:gd name="T5" fmla="*/ 119 h 309"/>
                <a:gd name="T6" fmla="*/ 49 w 394"/>
                <a:gd name="T7" fmla="*/ 109 h 309"/>
                <a:gd name="T8" fmla="*/ 49 w 394"/>
                <a:gd name="T9" fmla="*/ 90 h 309"/>
                <a:gd name="T10" fmla="*/ 90 w 394"/>
                <a:gd name="T11" fmla="*/ 85 h 309"/>
                <a:gd name="T12" fmla="*/ 58 w 394"/>
                <a:gd name="T13" fmla="*/ 70 h 309"/>
                <a:gd name="T14" fmla="*/ 32 w 394"/>
                <a:gd name="T15" fmla="*/ 13 h 309"/>
                <a:gd name="T16" fmla="*/ 36 w 394"/>
                <a:gd name="T17" fmla="*/ 0 h 309"/>
                <a:gd name="T18" fmla="*/ 179 w 394"/>
                <a:gd name="T19" fmla="*/ 36 h 309"/>
                <a:gd name="T20" fmla="*/ 217 w 394"/>
                <a:gd name="T21" fmla="*/ 19 h 309"/>
                <a:gd name="T22" fmla="*/ 245 w 394"/>
                <a:gd name="T23" fmla="*/ 28 h 309"/>
                <a:gd name="T24" fmla="*/ 249 w 394"/>
                <a:gd name="T25" fmla="*/ 45 h 309"/>
                <a:gd name="T26" fmla="*/ 296 w 394"/>
                <a:gd name="T27" fmla="*/ 49 h 309"/>
                <a:gd name="T28" fmla="*/ 292 w 394"/>
                <a:gd name="T29" fmla="*/ 73 h 309"/>
                <a:gd name="T30" fmla="*/ 315 w 394"/>
                <a:gd name="T31" fmla="*/ 66 h 309"/>
                <a:gd name="T32" fmla="*/ 374 w 394"/>
                <a:gd name="T33" fmla="*/ 100 h 309"/>
                <a:gd name="T34" fmla="*/ 394 w 394"/>
                <a:gd name="T35" fmla="*/ 92 h 309"/>
                <a:gd name="T36" fmla="*/ 345 w 394"/>
                <a:gd name="T37" fmla="*/ 251 h 309"/>
                <a:gd name="T38" fmla="*/ 304 w 394"/>
                <a:gd name="T39" fmla="*/ 287 h 309"/>
                <a:gd name="T40" fmla="*/ 285 w 394"/>
                <a:gd name="T41" fmla="*/ 270 h 309"/>
                <a:gd name="T42" fmla="*/ 211 w 394"/>
                <a:gd name="T43" fmla="*/ 287 h 309"/>
                <a:gd name="T44" fmla="*/ 204 w 394"/>
                <a:gd name="T45" fmla="*/ 277 h 309"/>
                <a:gd name="T46" fmla="*/ 175 w 394"/>
                <a:gd name="T47" fmla="*/ 306 h 309"/>
                <a:gd name="T48" fmla="*/ 107 w 394"/>
                <a:gd name="T49" fmla="*/ 309 h 309"/>
                <a:gd name="T50" fmla="*/ 43 w 394"/>
                <a:gd name="T51" fmla="*/ 287 h 309"/>
                <a:gd name="T52" fmla="*/ 51 w 394"/>
                <a:gd name="T53" fmla="*/ 275 h 309"/>
                <a:gd name="T54" fmla="*/ 17 w 394"/>
                <a:gd name="T55" fmla="*/ 260 h 309"/>
                <a:gd name="T56" fmla="*/ 43 w 394"/>
                <a:gd name="T57" fmla="*/ 232 h 309"/>
                <a:gd name="T58" fmla="*/ 39 w 394"/>
                <a:gd name="T59" fmla="*/ 209 h 309"/>
                <a:gd name="T60" fmla="*/ 0 w 394"/>
                <a:gd name="T61" fmla="*/ 183 h 309"/>
                <a:gd name="T62" fmla="*/ 0 w 394"/>
                <a:gd name="T63" fmla="*/ 181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4" h="309">
                  <a:moveTo>
                    <a:pt x="0" y="181"/>
                  </a:moveTo>
                  <a:lnTo>
                    <a:pt x="107" y="155"/>
                  </a:lnTo>
                  <a:lnTo>
                    <a:pt x="94" y="119"/>
                  </a:lnTo>
                  <a:lnTo>
                    <a:pt x="49" y="109"/>
                  </a:lnTo>
                  <a:lnTo>
                    <a:pt x="49" y="90"/>
                  </a:lnTo>
                  <a:lnTo>
                    <a:pt x="90" y="85"/>
                  </a:lnTo>
                  <a:lnTo>
                    <a:pt x="58" y="70"/>
                  </a:lnTo>
                  <a:lnTo>
                    <a:pt x="32" y="13"/>
                  </a:lnTo>
                  <a:lnTo>
                    <a:pt x="36" y="0"/>
                  </a:lnTo>
                  <a:lnTo>
                    <a:pt x="179" y="36"/>
                  </a:lnTo>
                  <a:lnTo>
                    <a:pt x="217" y="19"/>
                  </a:lnTo>
                  <a:lnTo>
                    <a:pt x="245" y="28"/>
                  </a:lnTo>
                  <a:lnTo>
                    <a:pt x="249" y="45"/>
                  </a:lnTo>
                  <a:lnTo>
                    <a:pt x="296" y="49"/>
                  </a:lnTo>
                  <a:lnTo>
                    <a:pt x="292" y="73"/>
                  </a:lnTo>
                  <a:lnTo>
                    <a:pt x="315" y="66"/>
                  </a:lnTo>
                  <a:lnTo>
                    <a:pt x="374" y="100"/>
                  </a:lnTo>
                  <a:lnTo>
                    <a:pt x="394" y="92"/>
                  </a:lnTo>
                  <a:lnTo>
                    <a:pt x="345" y="251"/>
                  </a:lnTo>
                  <a:lnTo>
                    <a:pt x="304" y="287"/>
                  </a:lnTo>
                  <a:lnTo>
                    <a:pt x="285" y="270"/>
                  </a:lnTo>
                  <a:lnTo>
                    <a:pt x="211" y="287"/>
                  </a:lnTo>
                  <a:lnTo>
                    <a:pt x="204" y="277"/>
                  </a:lnTo>
                  <a:lnTo>
                    <a:pt x="175" y="306"/>
                  </a:lnTo>
                  <a:lnTo>
                    <a:pt x="107" y="309"/>
                  </a:lnTo>
                  <a:lnTo>
                    <a:pt x="43" y="287"/>
                  </a:lnTo>
                  <a:lnTo>
                    <a:pt x="51" y="275"/>
                  </a:lnTo>
                  <a:lnTo>
                    <a:pt x="17" y="260"/>
                  </a:lnTo>
                  <a:lnTo>
                    <a:pt x="43" y="232"/>
                  </a:lnTo>
                  <a:lnTo>
                    <a:pt x="39" y="209"/>
                  </a:lnTo>
                  <a:lnTo>
                    <a:pt x="0" y="183"/>
                  </a:lnTo>
                  <a:lnTo>
                    <a:pt x="0" y="18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1" name="Freeform 64">
              <a:extLst>
                <a:ext uri="{FF2B5EF4-FFF2-40B4-BE49-F238E27FC236}">
                  <a16:creationId xmlns:a16="http://schemas.microsoft.com/office/drawing/2014/main" id="{1EF71080-84C8-4477-80E7-CE706A3E8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9568" y="2146641"/>
              <a:ext cx="408427" cy="721657"/>
            </a:xfrm>
            <a:custGeom>
              <a:avLst/>
              <a:gdLst>
                <a:gd name="T0" fmla="*/ 2 w 266"/>
                <a:gd name="T1" fmla="*/ 0 h 470"/>
                <a:gd name="T2" fmla="*/ 76 w 266"/>
                <a:gd name="T3" fmla="*/ 34 h 470"/>
                <a:gd name="T4" fmla="*/ 161 w 266"/>
                <a:gd name="T5" fmla="*/ 21 h 470"/>
                <a:gd name="T6" fmla="*/ 168 w 266"/>
                <a:gd name="T7" fmla="*/ 53 h 470"/>
                <a:gd name="T8" fmla="*/ 149 w 266"/>
                <a:gd name="T9" fmla="*/ 75 h 470"/>
                <a:gd name="T10" fmla="*/ 189 w 266"/>
                <a:gd name="T11" fmla="*/ 155 h 470"/>
                <a:gd name="T12" fmla="*/ 185 w 266"/>
                <a:gd name="T13" fmla="*/ 177 h 470"/>
                <a:gd name="T14" fmla="*/ 210 w 266"/>
                <a:gd name="T15" fmla="*/ 204 h 470"/>
                <a:gd name="T16" fmla="*/ 240 w 266"/>
                <a:gd name="T17" fmla="*/ 206 h 470"/>
                <a:gd name="T18" fmla="*/ 225 w 266"/>
                <a:gd name="T19" fmla="*/ 221 h 470"/>
                <a:gd name="T20" fmla="*/ 240 w 266"/>
                <a:gd name="T21" fmla="*/ 232 h 470"/>
                <a:gd name="T22" fmla="*/ 242 w 266"/>
                <a:gd name="T23" fmla="*/ 270 h 470"/>
                <a:gd name="T24" fmla="*/ 223 w 266"/>
                <a:gd name="T25" fmla="*/ 294 h 470"/>
                <a:gd name="T26" fmla="*/ 198 w 266"/>
                <a:gd name="T27" fmla="*/ 294 h 470"/>
                <a:gd name="T28" fmla="*/ 204 w 266"/>
                <a:gd name="T29" fmla="*/ 315 h 470"/>
                <a:gd name="T30" fmla="*/ 170 w 266"/>
                <a:gd name="T31" fmla="*/ 338 h 470"/>
                <a:gd name="T32" fmla="*/ 170 w 266"/>
                <a:gd name="T33" fmla="*/ 338 h 470"/>
                <a:gd name="T34" fmla="*/ 193 w 266"/>
                <a:gd name="T35" fmla="*/ 362 h 470"/>
                <a:gd name="T36" fmla="*/ 246 w 266"/>
                <a:gd name="T37" fmla="*/ 372 h 470"/>
                <a:gd name="T38" fmla="*/ 266 w 266"/>
                <a:gd name="T39" fmla="*/ 421 h 470"/>
                <a:gd name="T40" fmla="*/ 236 w 266"/>
                <a:gd name="T41" fmla="*/ 462 h 470"/>
                <a:gd name="T42" fmla="*/ 236 w 266"/>
                <a:gd name="T43" fmla="*/ 466 h 470"/>
                <a:gd name="T44" fmla="*/ 183 w 266"/>
                <a:gd name="T45" fmla="*/ 459 h 470"/>
                <a:gd name="T46" fmla="*/ 142 w 266"/>
                <a:gd name="T47" fmla="*/ 442 h 470"/>
                <a:gd name="T48" fmla="*/ 96 w 266"/>
                <a:gd name="T49" fmla="*/ 470 h 470"/>
                <a:gd name="T50" fmla="*/ 66 w 266"/>
                <a:gd name="T51" fmla="*/ 406 h 470"/>
                <a:gd name="T52" fmla="*/ 117 w 266"/>
                <a:gd name="T53" fmla="*/ 406 h 470"/>
                <a:gd name="T54" fmla="*/ 68 w 266"/>
                <a:gd name="T55" fmla="*/ 362 h 470"/>
                <a:gd name="T56" fmla="*/ 72 w 266"/>
                <a:gd name="T57" fmla="*/ 202 h 470"/>
                <a:gd name="T58" fmla="*/ 25 w 266"/>
                <a:gd name="T59" fmla="*/ 130 h 470"/>
                <a:gd name="T60" fmla="*/ 11 w 266"/>
                <a:gd name="T61" fmla="*/ 75 h 470"/>
                <a:gd name="T62" fmla="*/ 23 w 266"/>
                <a:gd name="T63" fmla="*/ 36 h 470"/>
                <a:gd name="T64" fmla="*/ 0 w 266"/>
                <a:gd name="T65" fmla="*/ 17 h 470"/>
                <a:gd name="T66" fmla="*/ 2 w 266"/>
                <a:gd name="T67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66" h="470">
                  <a:moveTo>
                    <a:pt x="2" y="0"/>
                  </a:moveTo>
                  <a:lnTo>
                    <a:pt x="76" y="34"/>
                  </a:lnTo>
                  <a:lnTo>
                    <a:pt x="161" y="21"/>
                  </a:lnTo>
                  <a:lnTo>
                    <a:pt x="168" y="53"/>
                  </a:lnTo>
                  <a:lnTo>
                    <a:pt x="149" y="75"/>
                  </a:lnTo>
                  <a:lnTo>
                    <a:pt x="189" y="155"/>
                  </a:lnTo>
                  <a:lnTo>
                    <a:pt x="185" y="177"/>
                  </a:lnTo>
                  <a:lnTo>
                    <a:pt x="210" y="204"/>
                  </a:lnTo>
                  <a:lnTo>
                    <a:pt x="240" y="206"/>
                  </a:lnTo>
                  <a:lnTo>
                    <a:pt x="225" y="221"/>
                  </a:lnTo>
                  <a:lnTo>
                    <a:pt x="240" y="232"/>
                  </a:lnTo>
                  <a:lnTo>
                    <a:pt x="242" y="270"/>
                  </a:lnTo>
                  <a:lnTo>
                    <a:pt x="223" y="294"/>
                  </a:lnTo>
                  <a:lnTo>
                    <a:pt x="198" y="294"/>
                  </a:lnTo>
                  <a:lnTo>
                    <a:pt x="204" y="315"/>
                  </a:lnTo>
                  <a:lnTo>
                    <a:pt x="170" y="338"/>
                  </a:lnTo>
                  <a:lnTo>
                    <a:pt x="170" y="338"/>
                  </a:lnTo>
                  <a:lnTo>
                    <a:pt x="193" y="362"/>
                  </a:lnTo>
                  <a:lnTo>
                    <a:pt x="246" y="372"/>
                  </a:lnTo>
                  <a:lnTo>
                    <a:pt x="266" y="421"/>
                  </a:lnTo>
                  <a:lnTo>
                    <a:pt x="236" y="462"/>
                  </a:lnTo>
                  <a:lnTo>
                    <a:pt x="236" y="466"/>
                  </a:lnTo>
                  <a:lnTo>
                    <a:pt x="183" y="459"/>
                  </a:lnTo>
                  <a:lnTo>
                    <a:pt x="142" y="442"/>
                  </a:lnTo>
                  <a:lnTo>
                    <a:pt x="96" y="470"/>
                  </a:lnTo>
                  <a:lnTo>
                    <a:pt x="66" y="406"/>
                  </a:lnTo>
                  <a:lnTo>
                    <a:pt x="117" y="406"/>
                  </a:lnTo>
                  <a:lnTo>
                    <a:pt x="68" y="362"/>
                  </a:lnTo>
                  <a:lnTo>
                    <a:pt x="72" y="202"/>
                  </a:lnTo>
                  <a:lnTo>
                    <a:pt x="25" y="130"/>
                  </a:lnTo>
                  <a:lnTo>
                    <a:pt x="11" y="75"/>
                  </a:lnTo>
                  <a:lnTo>
                    <a:pt x="23" y="36"/>
                  </a:lnTo>
                  <a:lnTo>
                    <a:pt x="0" y="17"/>
                  </a:lnTo>
                  <a:lnTo>
                    <a:pt x="2" y="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2" name="Freeform 65">
              <a:extLst>
                <a:ext uri="{FF2B5EF4-FFF2-40B4-BE49-F238E27FC236}">
                  <a16:creationId xmlns:a16="http://schemas.microsoft.com/office/drawing/2014/main" id="{F3E437FC-178C-4E08-A6DE-CF43B3949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801" y="2294043"/>
              <a:ext cx="635672" cy="678665"/>
            </a:xfrm>
            <a:custGeom>
              <a:avLst/>
              <a:gdLst>
                <a:gd name="T0" fmla="*/ 0 w 414"/>
                <a:gd name="T1" fmla="*/ 59 h 442"/>
                <a:gd name="T2" fmla="*/ 15 w 414"/>
                <a:gd name="T3" fmla="*/ 55 h 442"/>
                <a:gd name="T4" fmla="*/ 6 w 414"/>
                <a:gd name="T5" fmla="*/ 25 h 442"/>
                <a:gd name="T6" fmla="*/ 76 w 414"/>
                <a:gd name="T7" fmla="*/ 0 h 442"/>
                <a:gd name="T8" fmla="*/ 104 w 414"/>
                <a:gd name="T9" fmla="*/ 23 h 442"/>
                <a:gd name="T10" fmla="*/ 106 w 414"/>
                <a:gd name="T11" fmla="*/ 30 h 442"/>
                <a:gd name="T12" fmla="*/ 140 w 414"/>
                <a:gd name="T13" fmla="*/ 113 h 442"/>
                <a:gd name="T14" fmla="*/ 136 w 414"/>
                <a:gd name="T15" fmla="*/ 164 h 442"/>
                <a:gd name="T16" fmla="*/ 119 w 414"/>
                <a:gd name="T17" fmla="*/ 172 h 442"/>
                <a:gd name="T18" fmla="*/ 148 w 414"/>
                <a:gd name="T19" fmla="*/ 212 h 442"/>
                <a:gd name="T20" fmla="*/ 212 w 414"/>
                <a:gd name="T21" fmla="*/ 232 h 442"/>
                <a:gd name="T22" fmla="*/ 208 w 414"/>
                <a:gd name="T23" fmla="*/ 257 h 442"/>
                <a:gd name="T24" fmla="*/ 227 w 414"/>
                <a:gd name="T25" fmla="*/ 280 h 442"/>
                <a:gd name="T26" fmla="*/ 274 w 414"/>
                <a:gd name="T27" fmla="*/ 289 h 442"/>
                <a:gd name="T28" fmla="*/ 302 w 414"/>
                <a:gd name="T29" fmla="*/ 319 h 442"/>
                <a:gd name="T30" fmla="*/ 387 w 414"/>
                <a:gd name="T31" fmla="*/ 338 h 442"/>
                <a:gd name="T32" fmla="*/ 401 w 414"/>
                <a:gd name="T33" fmla="*/ 366 h 442"/>
                <a:gd name="T34" fmla="*/ 414 w 414"/>
                <a:gd name="T35" fmla="*/ 372 h 442"/>
                <a:gd name="T36" fmla="*/ 333 w 414"/>
                <a:gd name="T37" fmla="*/ 421 h 442"/>
                <a:gd name="T38" fmla="*/ 297 w 414"/>
                <a:gd name="T39" fmla="*/ 393 h 442"/>
                <a:gd name="T40" fmla="*/ 285 w 414"/>
                <a:gd name="T41" fmla="*/ 412 h 442"/>
                <a:gd name="T42" fmla="*/ 244 w 414"/>
                <a:gd name="T43" fmla="*/ 423 h 442"/>
                <a:gd name="T44" fmla="*/ 217 w 414"/>
                <a:gd name="T45" fmla="*/ 408 h 442"/>
                <a:gd name="T46" fmla="*/ 180 w 414"/>
                <a:gd name="T47" fmla="*/ 421 h 442"/>
                <a:gd name="T48" fmla="*/ 172 w 414"/>
                <a:gd name="T49" fmla="*/ 440 h 442"/>
                <a:gd name="T50" fmla="*/ 165 w 414"/>
                <a:gd name="T51" fmla="*/ 429 h 442"/>
                <a:gd name="T52" fmla="*/ 136 w 414"/>
                <a:gd name="T53" fmla="*/ 442 h 442"/>
                <a:gd name="T54" fmla="*/ 127 w 414"/>
                <a:gd name="T55" fmla="*/ 412 h 442"/>
                <a:gd name="T56" fmla="*/ 110 w 414"/>
                <a:gd name="T57" fmla="*/ 421 h 442"/>
                <a:gd name="T58" fmla="*/ 119 w 414"/>
                <a:gd name="T59" fmla="*/ 389 h 442"/>
                <a:gd name="T60" fmla="*/ 85 w 414"/>
                <a:gd name="T61" fmla="*/ 391 h 442"/>
                <a:gd name="T62" fmla="*/ 72 w 414"/>
                <a:gd name="T63" fmla="*/ 361 h 442"/>
                <a:gd name="T64" fmla="*/ 93 w 414"/>
                <a:gd name="T65" fmla="*/ 342 h 442"/>
                <a:gd name="T66" fmla="*/ 83 w 414"/>
                <a:gd name="T67" fmla="*/ 344 h 442"/>
                <a:gd name="T68" fmla="*/ 72 w 414"/>
                <a:gd name="T69" fmla="*/ 300 h 442"/>
                <a:gd name="T70" fmla="*/ 100 w 414"/>
                <a:gd name="T71" fmla="*/ 189 h 442"/>
                <a:gd name="T72" fmla="*/ 68 w 414"/>
                <a:gd name="T73" fmla="*/ 134 h 442"/>
                <a:gd name="T74" fmla="*/ 78 w 414"/>
                <a:gd name="T75" fmla="*/ 96 h 442"/>
                <a:gd name="T76" fmla="*/ 68 w 414"/>
                <a:gd name="T77" fmla="*/ 59 h 442"/>
                <a:gd name="T78" fmla="*/ 44 w 414"/>
                <a:gd name="T79" fmla="*/ 47 h 442"/>
                <a:gd name="T80" fmla="*/ 0 w 414"/>
                <a:gd name="T81" fmla="*/ 62 h 442"/>
                <a:gd name="T82" fmla="*/ 0 w 414"/>
                <a:gd name="T83" fmla="*/ 59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4" h="442">
                  <a:moveTo>
                    <a:pt x="0" y="59"/>
                  </a:moveTo>
                  <a:lnTo>
                    <a:pt x="15" y="55"/>
                  </a:lnTo>
                  <a:lnTo>
                    <a:pt x="6" y="25"/>
                  </a:lnTo>
                  <a:lnTo>
                    <a:pt x="76" y="0"/>
                  </a:lnTo>
                  <a:lnTo>
                    <a:pt x="104" y="23"/>
                  </a:lnTo>
                  <a:lnTo>
                    <a:pt x="106" y="30"/>
                  </a:lnTo>
                  <a:lnTo>
                    <a:pt x="140" y="113"/>
                  </a:lnTo>
                  <a:lnTo>
                    <a:pt x="136" y="164"/>
                  </a:lnTo>
                  <a:lnTo>
                    <a:pt x="119" y="172"/>
                  </a:lnTo>
                  <a:lnTo>
                    <a:pt x="148" y="212"/>
                  </a:lnTo>
                  <a:lnTo>
                    <a:pt x="212" y="232"/>
                  </a:lnTo>
                  <a:lnTo>
                    <a:pt x="208" y="257"/>
                  </a:lnTo>
                  <a:lnTo>
                    <a:pt x="227" y="280"/>
                  </a:lnTo>
                  <a:lnTo>
                    <a:pt x="274" y="289"/>
                  </a:lnTo>
                  <a:lnTo>
                    <a:pt x="302" y="319"/>
                  </a:lnTo>
                  <a:lnTo>
                    <a:pt x="387" y="338"/>
                  </a:lnTo>
                  <a:lnTo>
                    <a:pt x="401" y="366"/>
                  </a:lnTo>
                  <a:lnTo>
                    <a:pt x="414" y="372"/>
                  </a:lnTo>
                  <a:lnTo>
                    <a:pt x="333" y="421"/>
                  </a:lnTo>
                  <a:lnTo>
                    <a:pt x="297" y="393"/>
                  </a:lnTo>
                  <a:lnTo>
                    <a:pt x="285" y="412"/>
                  </a:lnTo>
                  <a:lnTo>
                    <a:pt x="244" y="423"/>
                  </a:lnTo>
                  <a:lnTo>
                    <a:pt x="217" y="408"/>
                  </a:lnTo>
                  <a:lnTo>
                    <a:pt x="180" y="421"/>
                  </a:lnTo>
                  <a:lnTo>
                    <a:pt x="172" y="440"/>
                  </a:lnTo>
                  <a:lnTo>
                    <a:pt x="165" y="429"/>
                  </a:lnTo>
                  <a:lnTo>
                    <a:pt x="136" y="442"/>
                  </a:lnTo>
                  <a:lnTo>
                    <a:pt x="127" y="412"/>
                  </a:lnTo>
                  <a:lnTo>
                    <a:pt x="110" y="421"/>
                  </a:lnTo>
                  <a:lnTo>
                    <a:pt x="119" y="389"/>
                  </a:lnTo>
                  <a:lnTo>
                    <a:pt x="85" y="391"/>
                  </a:lnTo>
                  <a:lnTo>
                    <a:pt x="72" y="361"/>
                  </a:lnTo>
                  <a:lnTo>
                    <a:pt x="93" y="342"/>
                  </a:lnTo>
                  <a:lnTo>
                    <a:pt x="83" y="344"/>
                  </a:lnTo>
                  <a:lnTo>
                    <a:pt x="72" y="300"/>
                  </a:lnTo>
                  <a:lnTo>
                    <a:pt x="100" y="189"/>
                  </a:lnTo>
                  <a:lnTo>
                    <a:pt x="68" y="134"/>
                  </a:lnTo>
                  <a:lnTo>
                    <a:pt x="78" y="96"/>
                  </a:lnTo>
                  <a:lnTo>
                    <a:pt x="68" y="59"/>
                  </a:lnTo>
                  <a:lnTo>
                    <a:pt x="44" y="47"/>
                  </a:lnTo>
                  <a:lnTo>
                    <a:pt x="0" y="62"/>
                  </a:lnTo>
                  <a:lnTo>
                    <a:pt x="0" y="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3" name="Freeform 66">
              <a:extLst>
                <a:ext uri="{FF2B5EF4-FFF2-40B4-BE49-F238E27FC236}">
                  <a16:creationId xmlns:a16="http://schemas.microsoft.com/office/drawing/2014/main" id="{D75E217A-86B3-4F4B-B870-447A8D13B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6193" y="2267940"/>
              <a:ext cx="353151" cy="669452"/>
            </a:xfrm>
            <a:custGeom>
              <a:avLst/>
              <a:gdLst>
                <a:gd name="T0" fmla="*/ 2 w 230"/>
                <a:gd name="T1" fmla="*/ 297 h 436"/>
                <a:gd name="T2" fmla="*/ 30 w 230"/>
                <a:gd name="T3" fmla="*/ 323 h 436"/>
                <a:gd name="T4" fmla="*/ 26 w 230"/>
                <a:gd name="T5" fmla="*/ 342 h 436"/>
                <a:gd name="T6" fmla="*/ 32 w 230"/>
                <a:gd name="T7" fmla="*/ 370 h 436"/>
                <a:gd name="T8" fmla="*/ 43 w 230"/>
                <a:gd name="T9" fmla="*/ 363 h 436"/>
                <a:gd name="T10" fmla="*/ 145 w 230"/>
                <a:gd name="T11" fmla="*/ 436 h 436"/>
                <a:gd name="T12" fmla="*/ 215 w 230"/>
                <a:gd name="T13" fmla="*/ 408 h 436"/>
                <a:gd name="T14" fmla="*/ 202 w 230"/>
                <a:gd name="T15" fmla="*/ 378 h 436"/>
                <a:gd name="T16" fmla="*/ 223 w 230"/>
                <a:gd name="T17" fmla="*/ 359 h 436"/>
                <a:gd name="T18" fmla="*/ 213 w 230"/>
                <a:gd name="T19" fmla="*/ 361 h 436"/>
                <a:gd name="T20" fmla="*/ 202 w 230"/>
                <a:gd name="T21" fmla="*/ 317 h 436"/>
                <a:gd name="T22" fmla="*/ 230 w 230"/>
                <a:gd name="T23" fmla="*/ 206 h 436"/>
                <a:gd name="T24" fmla="*/ 198 w 230"/>
                <a:gd name="T25" fmla="*/ 151 h 436"/>
                <a:gd name="T26" fmla="*/ 208 w 230"/>
                <a:gd name="T27" fmla="*/ 113 h 436"/>
                <a:gd name="T28" fmla="*/ 198 w 230"/>
                <a:gd name="T29" fmla="*/ 76 h 436"/>
                <a:gd name="T30" fmla="*/ 174 w 230"/>
                <a:gd name="T31" fmla="*/ 64 h 436"/>
                <a:gd name="T32" fmla="*/ 130 w 230"/>
                <a:gd name="T33" fmla="*/ 79 h 436"/>
                <a:gd name="T34" fmla="*/ 130 w 230"/>
                <a:gd name="T35" fmla="*/ 76 h 436"/>
                <a:gd name="T36" fmla="*/ 145 w 230"/>
                <a:gd name="T37" fmla="*/ 72 h 436"/>
                <a:gd name="T38" fmla="*/ 136 w 230"/>
                <a:gd name="T39" fmla="*/ 42 h 436"/>
                <a:gd name="T40" fmla="*/ 115 w 230"/>
                <a:gd name="T41" fmla="*/ 0 h 436"/>
                <a:gd name="T42" fmla="*/ 87 w 230"/>
                <a:gd name="T43" fmla="*/ 27 h 436"/>
                <a:gd name="T44" fmla="*/ 47 w 230"/>
                <a:gd name="T45" fmla="*/ 15 h 436"/>
                <a:gd name="T46" fmla="*/ 36 w 230"/>
                <a:gd name="T47" fmla="*/ 42 h 436"/>
                <a:gd name="T48" fmla="*/ 49 w 230"/>
                <a:gd name="T49" fmla="*/ 85 h 436"/>
                <a:gd name="T50" fmla="*/ 36 w 230"/>
                <a:gd name="T51" fmla="*/ 127 h 436"/>
                <a:gd name="T52" fmla="*/ 15 w 230"/>
                <a:gd name="T53" fmla="*/ 140 h 436"/>
                <a:gd name="T54" fmla="*/ 19 w 230"/>
                <a:gd name="T55" fmla="*/ 219 h 436"/>
                <a:gd name="T56" fmla="*/ 34 w 230"/>
                <a:gd name="T57" fmla="*/ 221 h 436"/>
                <a:gd name="T58" fmla="*/ 34 w 230"/>
                <a:gd name="T59" fmla="*/ 244 h 436"/>
                <a:gd name="T60" fmla="*/ 11 w 230"/>
                <a:gd name="T61" fmla="*/ 257 h 436"/>
                <a:gd name="T62" fmla="*/ 0 w 230"/>
                <a:gd name="T63" fmla="*/ 295 h 436"/>
                <a:gd name="T64" fmla="*/ 2 w 230"/>
                <a:gd name="T65" fmla="*/ 297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0" h="436">
                  <a:moveTo>
                    <a:pt x="2" y="297"/>
                  </a:moveTo>
                  <a:lnTo>
                    <a:pt x="30" y="323"/>
                  </a:lnTo>
                  <a:lnTo>
                    <a:pt x="26" y="342"/>
                  </a:lnTo>
                  <a:lnTo>
                    <a:pt x="32" y="370"/>
                  </a:lnTo>
                  <a:lnTo>
                    <a:pt x="43" y="363"/>
                  </a:lnTo>
                  <a:lnTo>
                    <a:pt x="145" y="436"/>
                  </a:lnTo>
                  <a:lnTo>
                    <a:pt x="215" y="408"/>
                  </a:lnTo>
                  <a:lnTo>
                    <a:pt x="202" y="378"/>
                  </a:lnTo>
                  <a:lnTo>
                    <a:pt x="223" y="359"/>
                  </a:lnTo>
                  <a:lnTo>
                    <a:pt x="213" y="361"/>
                  </a:lnTo>
                  <a:lnTo>
                    <a:pt x="202" y="317"/>
                  </a:lnTo>
                  <a:lnTo>
                    <a:pt x="230" y="206"/>
                  </a:lnTo>
                  <a:lnTo>
                    <a:pt x="198" y="151"/>
                  </a:lnTo>
                  <a:lnTo>
                    <a:pt x="208" y="113"/>
                  </a:lnTo>
                  <a:lnTo>
                    <a:pt x="198" y="76"/>
                  </a:lnTo>
                  <a:lnTo>
                    <a:pt x="174" y="64"/>
                  </a:lnTo>
                  <a:lnTo>
                    <a:pt x="130" y="79"/>
                  </a:lnTo>
                  <a:lnTo>
                    <a:pt x="130" y="76"/>
                  </a:lnTo>
                  <a:lnTo>
                    <a:pt x="145" y="72"/>
                  </a:lnTo>
                  <a:lnTo>
                    <a:pt x="136" y="42"/>
                  </a:lnTo>
                  <a:lnTo>
                    <a:pt x="115" y="0"/>
                  </a:lnTo>
                  <a:lnTo>
                    <a:pt x="87" y="27"/>
                  </a:lnTo>
                  <a:lnTo>
                    <a:pt x="47" y="15"/>
                  </a:lnTo>
                  <a:lnTo>
                    <a:pt x="36" y="42"/>
                  </a:lnTo>
                  <a:lnTo>
                    <a:pt x="49" y="85"/>
                  </a:lnTo>
                  <a:lnTo>
                    <a:pt x="36" y="127"/>
                  </a:lnTo>
                  <a:lnTo>
                    <a:pt x="15" y="140"/>
                  </a:lnTo>
                  <a:lnTo>
                    <a:pt x="19" y="219"/>
                  </a:lnTo>
                  <a:lnTo>
                    <a:pt x="34" y="221"/>
                  </a:lnTo>
                  <a:lnTo>
                    <a:pt x="34" y="244"/>
                  </a:lnTo>
                  <a:lnTo>
                    <a:pt x="11" y="257"/>
                  </a:lnTo>
                  <a:lnTo>
                    <a:pt x="0" y="295"/>
                  </a:lnTo>
                  <a:lnTo>
                    <a:pt x="2" y="29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4" name="Freeform 67">
              <a:extLst>
                <a:ext uri="{FF2B5EF4-FFF2-40B4-BE49-F238E27FC236}">
                  <a16:creationId xmlns:a16="http://schemas.microsoft.com/office/drawing/2014/main" id="{1F7963D8-C998-4D3B-9106-272D66978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1769" y="2960425"/>
              <a:ext cx="620318" cy="446814"/>
            </a:xfrm>
            <a:custGeom>
              <a:avLst/>
              <a:gdLst>
                <a:gd name="T0" fmla="*/ 2 w 404"/>
                <a:gd name="T1" fmla="*/ 19 h 291"/>
                <a:gd name="T2" fmla="*/ 42 w 404"/>
                <a:gd name="T3" fmla="*/ 0 h 291"/>
                <a:gd name="T4" fmla="*/ 113 w 404"/>
                <a:gd name="T5" fmla="*/ 25 h 291"/>
                <a:gd name="T6" fmla="*/ 164 w 404"/>
                <a:gd name="T7" fmla="*/ 2 h 291"/>
                <a:gd name="T8" fmla="*/ 225 w 404"/>
                <a:gd name="T9" fmla="*/ 29 h 291"/>
                <a:gd name="T10" fmla="*/ 234 w 404"/>
                <a:gd name="T11" fmla="*/ 53 h 291"/>
                <a:gd name="T12" fmla="*/ 263 w 404"/>
                <a:gd name="T13" fmla="*/ 42 h 291"/>
                <a:gd name="T14" fmla="*/ 259 w 404"/>
                <a:gd name="T15" fmla="*/ 74 h 291"/>
                <a:gd name="T16" fmla="*/ 289 w 404"/>
                <a:gd name="T17" fmla="*/ 61 h 291"/>
                <a:gd name="T18" fmla="*/ 295 w 404"/>
                <a:gd name="T19" fmla="*/ 31 h 291"/>
                <a:gd name="T20" fmla="*/ 353 w 404"/>
                <a:gd name="T21" fmla="*/ 46 h 291"/>
                <a:gd name="T22" fmla="*/ 359 w 404"/>
                <a:gd name="T23" fmla="*/ 72 h 291"/>
                <a:gd name="T24" fmla="*/ 380 w 404"/>
                <a:gd name="T25" fmla="*/ 68 h 291"/>
                <a:gd name="T26" fmla="*/ 353 w 404"/>
                <a:gd name="T27" fmla="*/ 89 h 291"/>
                <a:gd name="T28" fmla="*/ 351 w 404"/>
                <a:gd name="T29" fmla="*/ 95 h 291"/>
                <a:gd name="T30" fmla="*/ 385 w 404"/>
                <a:gd name="T31" fmla="*/ 102 h 291"/>
                <a:gd name="T32" fmla="*/ 397 w 404"/>
                <a:gd name="T33" fmla="*/ 125 h 291"/>
                <a:gd name="T34" fmla="*/ 387 w 404"/>
                <a:gd name="T35" fmla="*/ 151 h 291"/>
                <a:gd name="T36" fmla="*/ 404 w 404"/>
                <a:gd name="T37" fmla="*/ 151 h 291"/>
                <a:gd name="T38" fmla="*/ 383 w 404"/>
                <a:gd name="T39" fmla="*/ 180 h 291"/>
                <a:gd name="T40" fmla="*/ 400 w 404"/>
                <a:gd name="T41" fmla="*/ 189 h 291"/>
                <a:gd name="T42" fmla="*/ 380 w 404"/>
                <a:gd name="T43" fmla="*/ 197 h 291"/>
                <a:gd name="T44" fmla="*/ 385 w 404"/>
                <a:gd name="T45" fmla="*/ 231 h 291"/>
                <a:gd name="T46" fmla="*/ 368 w 404"/>
                <a:gd name="T47" fmla="*/ 280 h 291"/>
                <a:gd name="T48" fmla="*/ 334 w 404"/>
                <a:gd name="T49" fmla="*/ 272 h 291"/>
                <a:gd name="T50" fmla="*/ 329 w 404"/>
                <a:gd name="T51" fmla="*/ 289 h 291"/>
                <a:gd name="T52" fmla="*/ 291 w 404"/>
                <a:gd name="T53" fmla="*/ 291 h 291"/>
                <a:gd name="T54" fmla="*/ 283 w 404"/>
                <a:gd name="T55" fmla="*/ 276 h 291"/>
                <a:gd name="T56" fmla="*/ 302 w 404"/>
                <a:gd name="T57" fmla="*/ 274 h 291"/>
                <a:gd name="T58" fmla="*/ 283 w 404"/>
                <a:gd name="T59" fmla="*/ 263 h 291"/>
                <a:gd name="T60" fmla="*/ 210 w 404"/>
                <a:gd name="T61" fmla="*/ 272 h 291"/>
                <a:gd name="T62" fmla="*/ 183 w 404"/>
                <a:gd name="T63" fmla="*/ 248 h 291"/>
                <a:gd name="T64" fmla="*/ 229 w 404"/>
                <a:gd name="T65" fmla="*/ 253 h 291"/>
                <a:gd name="T66" fmla="*/ 234 w 404"/>
                <a:gd name="T67" fmla="*/ 231 h 291"/>
                <a:gd name="T68" fmla="*/ 198 w 404"/>
                <a:gd name="T69" fmla="*/ 221 h 291"/>
                <a:gd name="T70" fmla="*/ 185 w 404"/>
                <a:gd name="T71" fmla="*/ 233 h 291"/>
                <a:gd name="T72" fmla="*/ 174 w 404"/>
                <a:gd name="T73" fmla="*/ 216 h 291"/>
                <a:gd name="T74" fmla="*/ 176 w 404"/>
                <a:gd name="T75" fmla="*/ 244 h 291"/>
                <a:gd name="T76" fmla="*/ 134 w 404"/>
                <a:gd name="T77" fmla="*/ 227 h 291"/>
                <a:gd name="T78" fmla="*/ 138 w 404"/>
                <a:gd name="T79" fmla="*/ 272 h 291"/>
                <a:gd name="T80" fmla="*/ 127 w 404"/>
                <a:gd name="T81" fmla="*/ 270 h 291"/>
                <a:gd name="T82" fmla="*/ 125 w 404"/>
                <a:gd name="T83" fmla="*/ 221 h 291"/>
                <a:gd name="T84" fmla="*/ 79 w 404"/>
                <a:gd name="T85" fmla="*/ 187 h 291"/>
                <a:gd name="T86" fmla="*/ 96 w 404"/>
                <a:gd name="T87" fmla="*/ 185 h 291"/>
                <a:gd name="T88" fmla="*/ 55 w 404"/>
                <a:gd name="T89" fmla="*/ 180 h 291"/>
                <a:gd name="T90" fmla="*/ 36 w 404"/>
                <a:gd name="T91" fmla="*/ 155 h 291"/>
                <a:gd name="T92" fmla="*/ 42 w 404"/>
                <a:gd name="T93" fmla="*/ 127 h 291"/>
                <a:gd name="T94" fmla="*/ 72 w 404"/>
                <a:gd name="T95" fmla="*/ 121 h 291"/>
                <a:gd name="T96" fmla="*/ 79 w 404"/>
                <a:gd name="T97" fmla="*/ 89 h 291"/>
                <a:gd name="T98" fmla="*/ 19 w 404"/>
                <a:gd name="T99" fmla="*/ 70 h 291"/>
                <a:gd name="T100" fmla="*/ 0 w 404"/>
                <a:gd name="T101" fmla="*/ 29 h 291"/>
                <a:gd name="T102" fmla="*/ 2 w 404"/>
                <a:gd name="T103" fmla="*/ 1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04" h="291">
                  <a:moveTo>
                    <a:pt x="2" y="19"/>
                  </a:moveTo>
                  <a:lnTo>
                    <a:pt x="42" y="0"/>
                  </a:lnTo>
                  <a:lnTo>
                    <a:pt x="113" y="25"/>
                  </a:lnTo>
                  <a:lnTo>
                    <a:pt x="164" y="2"/>
                  </a:lnTo>
                  <a:lnTo>
                    <a:pt x="225" y="29"/>
                  </a:lnTo>
                  <a:lnTo>
                    <a:pt x="234" y="53"/>
                  </a:lnTo>
                  <a:lnTo>
                    <a:pt x="263" y="42"/>
                  </a:lnTo>
                  <a:lnTo>
                    <a:pt x="259" y="74"/>
                  </a:lnTo>
                  <a:lnTo>
                    <a:pt x="289" y="61"/>
                  </a:lnTo>
                  <a:lnTo>
                    <a:pt x="295" y="31"/>
                  </a:lnTo>
                  <a:lnTo>
                    <a:pt x="353" y="46"/>
                  </a:lnTo>
                  <a:lnTo>
                    <a:pt x="359" y="72"/>
                  </a:lnTo>
                  <a:lnTo>
                    <a:pt x="380" y="68"/>
                  </a:lnTo>
                  <a:lnTo>
                    <a:pt x="353" y="89"/>
                  </a:lnTo>
                  <a:lnTo>
                    <a:pt x="351" y="95"/>
                  </a:lnTo>
                  <a:lnTo>
                    <a:pt x="385" y="102"/>
                  </a:lnTo>
                  <a:lnTo>
                    <a:pt x="397" y="125"/>
                  </a:lnTo>
                  <a:lnTo>
                    <a:pt x="387" y="151"/>
                  </a:lnTo>
                  <a:lnTo>
                    <a:pt x="404" y="151"/>
                  </a:lnTo>
                  <a:lnTo>
                    <a:pt x="383" y="180"/>
                  </a:lnTo>
                  <a:lnTo>
                    <a:pt x="400" y="189"/>
                  </a:lnTo>
                  <a:lnTo>
                    <a:pt x="380" y="197"/>
                  </a:lnTo>
                  <a:lnTo>
                    <a:pt x="385" y="231"/>
                  </a:lnTo>
                  <a:lnTo>
                    <a:pt x="368" y="280"/>
                  </a:lnTo>
                  <a:lnTo>
                    <a:pt x="334" y="272"/>
                  </a:lnTo>
                  <a:lnTo>
                    <a:pt x="329" y="289"/>
                  </a:lnTo>
                  <a:lnTo>
                    <a:pt x="291" y="291"/>
                  </a:lnTo>
                  <a:lnTo>
                    <a:pt x="283" y="276"/>
                  </a:lnTo>
                  <a:lnTo>
                    <a:pt x="302" y="274"/>
                  </a:lnTo>
                  <a:lnTo>
                    <a:pt x="283" y="263"/>
                  </a:lnTo>
                  <a:lnTo>
                    <a:pt x="210" y="272"/>
                  </a:lnTo>
                  <a:lnTo>
                    <a:pt x="183" y="248"/>
                  </a:lnTo>
                  <a:lnTo>
                    <a:pt x="229" y="253"/>
                  </a:lnTo>
                  <a:lnTo>
                    <a:pt x="234" y="231"/>
                  </a:lnTo>
                  <a:lnTo>
                    <a:pt x="198" y="221"/>
                  </a:lnTo>
                  <a:lnTo>
                    <a:pt x="185" y="233"/>
                  </a:lnTo>
                  <a:lnTo>
                    <a:pt x="174" y="216"/>
                  </a:lnTo>
                  <a:lnTo>
                    <a:pt x="176" y="244"/>
                  </a:lnTo>
                  <a:lnTo>
                    <a:pt x="134" y="227"/>
                  </a:lnTo>
                  <a:lnTo>
                    <a:pt x="138" y="272"/>
                  </a:lnTo>
                  <a:lnTo>
                    <a:pt x="127" y="270"/>
                  </a:lnTo>
                  <a:lnTo>
                    <a:pt x="125" y="221"/>
                  </a:lnTo>
                  <a:lnTo>
                    <a:pt x="79" y="187"/>
                  </a:lnTo>
                  <a:lnTo>
                    <a:pt x="96" y="185"/>
                  </a:lnTo>
                  <a:lnTo>
                    <a:pt x="55" y="180"/>
                  </a:lnTo>
                  <a:lnTo>
                    <a:pt x="36" y="155"/>
                  </a:lnTo>
                  <a:lnTo>
                    <a:pt x="42" y="127"/>
                  </a:lnTo>
                  <a:lnTo>
                    <a:pt x="72" y="121"/>
                  </a:lnTo>
                  <a:lnTo>
                    <a:pt x="79" y="89"/>
                  </a:lnTo>
                  <a:lnTo>
                    <a:pt x="19" y="70"/>
                  </a:lnTo>
                  <a:lnTo>
                    <a:pt x="0" y="29"/>
                  </a:lnTo>
                  <a:lnTo>
                    <a:pt x="2" y="1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5" name="Freeform 68">
              <a:extLst>
                <a:ext uri="{FF2B5EF4-FFF2-40B4-BE49-F238E27FC236}">
                  <a16:creationId xmlns:a16="http://schemas.microsoft.com/office/drawing/2014/main" id="{F2D254CB-9424-493B-AD54-E4A19187D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5486" y="2320145"/>
              <a:ext cx="652563" cy="535869"/>
            </a:xfrm>
            <a:custGeom>
              <a:avLst/>
              <a:gdLst>
                <a:gd name="T0" fmla="*/ 2 w 425"/>
                <a:gd name="T1" fmla="*/ 13 h 349"/>
                <a:gd name="T2" fmla="*/ 36 w 425"/>
                <a:gd name="T3" fmla="*/ 96 h 349"/>
                <a:gd name="T4" fmla="*/ 32 w 425"/>
                <a:gd name="T5" fmla="*/ 147 h 349"/>
                <a:gd name="T6" fmla="*/ 15 w 425"/>
                <a:gd name="T7" fmla="*/ 155 h 349"/>
                <a:gd name="T8" fmla="*/ 44 w 425"/>
                <a:gd name="T9" fmla="*/ 195 h 349"/>
                <a:gd name="T10" fmla="*/ 108 w 425"/>
                <a:gd name="T11" fmla="*/ 215 h 349"/>
                <a:gd name="T12" fmla="*/ 104 w 425"/>
                <a:gd name="T13" fmla="*/ 240 h 349"/>
                <a:gd name="T14" fmla="*/ 123 w 425"/>
                <a:gd name="T15" fmla="*/ 263 h 349"/>
                <a:gd name="T16" fmla="*/ 170 w 425"/>
                <a:gd name="T17" fmla="*/ 272 h 349"/>
                <a:gd name="T18" fmla="*/ 198 w 425"/>
                <a:gd name="T19" fmla="*/ 302 h 349"/>
                <a:gd name="T20" fmla="*/ 283 w 425"/>
                <a:gd name="T21" fmla="*/ 321 h 349"/>
                <a:gd name="T22" fmla="*/ 297 w 425"/>
                <a:gd name="T23" fmla="*/ 349 h 349"/>
                <a:gd name="T24" fmla="*/ 340 w 425"/>
                <a:gd name="T25" fmla="*/ 329 h 349"/>
                <a:gd name="T26" fmla="*/ 351 w 425"/>
                <a:gd name="T27" fmla="*/ 300 h 349"/>
                <a:gd name="T28" fmla="*/ 336 w 425"/>
                <a:gd name="T29" fmla="*/ 289 h 349"/>
                <a:gd name="T30" fmla="*/ 353 w 425"/>
                <a:gd name="T31" fmla="*/ 259 h 349"/>
                <a:gd name="T32" fmla="*/ 321 w 425"/>
                <a:gd name="T33" fmla="*/ 232 h 349"/>
                <a:gd name="T34" fmla="*/ 295 w 425"/>
                <a:gd name="T35" fmla="*/ 255 h 349"/>
                <a:gd name="T36" fmla="*/ 297 w 425"/>
                <a:gd name="T37" fmla="*/ 227 h 349"/>
                <a:gd name="T38" fmla="*/ 261 w 425"/>
                <a:gd name="T39" fmla="*/ 206 h 349"/>
                <a:gd name="T40" fmla="*/ 261 w 425"/>
                <a:gd name="T41" fmla="*/ 204 h 349"/>
                <a:gd name="T42" fmla="*/ 280 w 425"/>
                <a:gd name="T43" fmla="*/ 193 h 349"/>
                <a:gd name="T44" fmla="*/ 291 w 425"/>
                <a:gd name="T45" fmla="*/ 151 h 349"/>
                <a:gd name="T46" fmla="*/ 304 w 425"/>
                <a:gd name="T47" fmla="*/ 174 h 349"/>
                <a:gd name="T48" fmla="*/ 351 w 425"/>
                <a:gd name="T49" fmla="*/ 195 h 349"/>
                <a:gd name="T50" fmla="*/ 404 w 425"/>
                <a:gd name="T51" fmla="*/ 195 h 349"/>
                <a:gd name="T52" fmla="*/ 425 w 425"/>
                <a:gd name="T53" fmla="*/ 153 h 349"/>
                <a:gd name="T54" fmla="*/ 376 w 425"/>
                <a:gd name="T55" fmla="*/ 106 h 349"/>
                <a:gd name="T56" fmla="*/ 340 w 425"/>
                <a:gd name="T57" fmla="*/ 132 h 349"/>
                <a:gd name="T58" fmla="*/ 293 w 425"/>
                <a:gd name="T59" fmla="*/ 121 h 349"/>
                <a:gd name="T60" fmla="*/ 283 w 425"/>
                <a:gd name="T61" fmla="*/ 136 h 349"/>
                <a:gd name="T62" fmla="*/ 276 w 425"/>
                <a:gd name="T63" fmla="*/ 108 h 349"/>
                <a:gd name="T64" fmla="*/ 251 w 425"/>
                <a:gd name="T65" fmla="*/ 98 h 349"/>
                <a:gd name="T66" fmla="*/ 229 w 425"/>
                <a:gd name="T67" fmla="*/ 102 h 349"/>
                <a:gd name="T68" fmla="*/ 229 w 425"/>
                <a:gd name="T69" fmla="*/ 123 h 349"/>
                <a:gd name="T70" fmla="*/ 206 w 425"/>
                <a:gd name="T71" fmla="*/ 119 h 349"/>
                <a:gd name="T72" fmla="*/ 138 w 425"/>
                <a:gd name="T73" fmla="*/ 13 h 349"/>
                <a:gd name="T74" fmla="*/ 72 w 425"/>
                <a:gd name="T75" fmla="*/ 0 h 349"/>
                <a:gd name="T76" fmla="*/ 36 w 425"/>
                <a:gd name="T77" fmla="*/ 23 h 349"/>
                <a:gd name="T78" fmla="*/ 0 w 425"/>
                <a:gd name="T79" fmla="*/ 6 h 349"/>
                <a:gd name="T80" fmla="*/ 2 w 425"/>
                <a:gd name="T81" fmla="*/ 13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5" h="349">
                  <a:moveTo>
                    <a:pt x="2" y="13"/>
                  </a:moveTo>
                  <a:lnTo>
                    <a:pt x="36" y="96"/>
                  </a:lnTo>
                  <a:lnTo>
                    <a:pt x="32" y="147"/>
                  </a:lnTo>
                  <a:lnTo>
                    <a:pt x="15" y="155"/>
                  </a:lnTo>
                  <a:lnTo>
                    <a:pt x="44" y="195"/>
                  </a:lnTo>
                  <a:lnTo>
                    <a:pt x="108" y="215"/>
                  </a:lnTo>
                  <a:lnTo>
                    <a:pt x="104" y="240"/>
                  </a:lnTo>
                  <a:lnTo>
                    <a:pt x="123" y="263"/>
                  </a:lnTo>
                  <a:lnTo>
                    <a:pt x="170" y="272"/>
                  </a:lnTo>
                  <a:lnTo>
                    <a:pt x="198" y="302"/>
                  </a:lnTo>
                  <a:lnTo>
                    <a:pt x="283" y="321"/>
                  </a:lnTo>
                  <a:lnTo>
                    <a:pt x="297" y="349"/>
                  </a:lnTo>
                  <a:lnTo>
                    <a:pt x="340" y="329"/>
                  </a:lnTo>
                  <a:lnTo>
                    <a:pt x="351" y="300"/>
                  </a:lnTo>
                  <a:lnTo>
                    <a:pt x="336" y="289"/>
                  </a:lnTo>
                  <a:lnTo>
                    <a:pt x="353" y="259"/>
                  </a:lnTo>
                  <a:lnTo>
                    <a:pt x="321" y="232"/>
                  </a:lnTo>
                  <a:lnTo>
                    <a:pt x="295" y="255"/>
                  </a:lnTo>
                  <a:lnTo>
                    <a:pt x="297" y="227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80" y="193"/>
                  </a:lnTo>
                  <a:lnTo>
                    <a:pt x="291" y="151"/>
                  </a:lnTo>
                  <a:lnTo>
                    <a:pt x="304" y="174"/>
                  </a:lnTo>
                  <a:lnTo>
                    <a:pt x="351" y="195"/>
                  </a:lnTo>
                  <a:lnTo>
                    <a:pt x="404" y="195"/>
                  </a:lnTo>
                  <a:lnTo>
                    <a:pt x="425" y="153"/>
                  </a:lnTo>
                  <a:lnTo>
                    <a:pt x="376" y="106"/>
                  </a:lnTo>
                  <a:lnTo>
                    <a:pt x="340" y="132"/>
                  </a:lnTo>
                  <a:lnTo>
                    <a:pt x="293" y="121"/>
                  </a:lnTo>
                  <a:lnTo>
                    <a:pt x="283" y="136"/>
                  </a:lnTo>
                  <a:lnTo>
                    <a:pt x="276" y="108"/>
                  </a:lnTo>
                  <a:lnTo>
                    <a:pt x="251" y="98"/>
                  </a:lnTo>
                  <a:lnTo>
                    <a:pt x="229" y="102"/>
                  </a:lnTo>
                  <a:lnTo>
                    <a:pt x="229" y="123"/>
                  </a:lnTo>
                  <a:lnTo>
                    <a:pt x="206" y="119"/>
                  </a:lnTo>
                  <a:lnTo>
                    <a:pt x="138" y="13"/>
                  </a:lnTo>
                  <a:lnTo>
                    <a:pt x="72" y="0"/>
                  </a:lnTo>
                  <a:lnTo>
                    <a:pt x="36" y="23"/>
                  </a:lnTo>
                  <a:lnTo>
                    <a:pt x="0" y="6"/>
                  </a:lnTo>
                  <a:lnTo>
                    <a:pt x="2" y="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6" name="Freeform 69">
              <a:extLst>
                <a:ext uri="{FF2B5EF4-FFF2-40B4-BE49-F238E27FC236}">
                  <a16:creationId xmlns:a16="http://schemas.microsoft.com/office/drawing/2014/main" id="{5A478DD9-3A4D-4B5D-AA3E-E08940C6E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4338" y="1448015"/>
              <a:ext cx="760043" cy="623389"/>
            </a:xfrm>
            <a:custGeom>
              <a:avLst/>
              <a:gdLst>
                <a:gd name="T0" fmla="*/ 104 w 495"/>
                <a:gd name="T1" fmla="*/ 0 h 406"/>
                <a:gd name="T2" fmla="*/ 123 w 495"/>
                <a:gd name="T3" fmla="*/ 51 h 406"/>
                <a:gd name="T4" fmla="*/ 117 w 495"/>
                <a:gd name="T5" fmla="*/ 85 h 406"/>
                <a:gd name="T6" fmla="*/ 166 w 495"/>
                <a:gd name="T7" fmla="*/ 136 h 406"/>
                <a:gd name="T8" fmla="*/ 185 w 495"/>
                <a:gd name="T9" fmla="*/ 143 h 406"/>
                <a:gd name="T10" fmla="*/ 213 w 495"/>
                <a:gd name="T11" fmla="*/ 115 h 406"/>
                <a:gd name="T12" fmla="*/ 240 w 495"/>
                <a:gd name="T13" fmla="*/ 111 h 406"/>
                <a:gd name="T14" fmla="*/ 268 w 495"/>
                <a:gd name="T15" fmla="*/ 145 h 406"/>
                <a:gd name="T16" fmla="*/ 274 w 495"/>
                <a:gd name="T17" fmla="*/ 206 h 406"/>
                <a:gd name="T18" fmla="*/ 351 w 495"/>
                <a:gd name="T19" fmla="*/ 217 h 406"/>
                <a:gd name="T20" fmla="*/ 374 w 495"/>
                <a:gd name="T21" fmla="*/ 289 h 406"/>
                <a:gd name="T22" fmla="*/ 381 w 495"/>
                <a:gd name="T23" fmla="*/ 270 h 406"/>
                <a:gd name="T24" fmla="*/ 449 w 495"/>
                <a:gd name="T25" fmla="*/ 268 h 406"/>
                <a:gd name="T26" fmla="*/ 474 w 495"/>
                <a:gd name="T27" fmla="*/ 304 h 406"/>
                <a:gd name="T28" fmla="*/ 491 w 495"/>
                <a:gd name="T29" fmla="*/ 298 h 406"/>
                <a:gd name="T30" fmla="*/ 472 w 495"/>
                <a:gd name="T31" fmla="*/ 349 h 406"/>
                <a:gd name="T32" fmla="*/ 489 w 495"/>
                <a:gd name="T33" fmla="*/ 351 h 406"/>
                <a:gd name="T34" fmla="*/ 495 w 495"/>
                <a:gd name="T35" fmla="*/ 374 h 406"/>
                <a:gd name="T36" fmla="*/ 476 w 495"/>
                <a:gd name="T37" fmla="*/ 406 h 406"/>
                <a:gd name="T38" fmla="*/ 374 w 495"/>
                <a:gd name="T39" fmla="*/ 374 h 406"/>
                <a:gd name="T40" fmla="*/ 351 w 495"/>
                <a:gd name="T41" fmla="*/ 389 h 406"/>
                <a:gd name="T42" fmla="*/ 338 w 495"/>
                <a:gd name="T43" fmla="*/ 379 h 406"/>
                <a:gd name="T44" fmla="*/ 321 w 495"/>
                <a:gd name="T45" fmla="*/ 394 h 406"/>
                <a:gd name="T46" fmla="*/ 247 w 495"/>
                <a:gd name="T47" fmla="*/ 394 h 406"/>
                <a:gd name="T48" fmla="*/ 228 w 495"/>
                <a:gd name="T49" fmla="*/ 381 h 406"/>
                <a:gd name="T50" fmla="*/ 251 w 495"/>
                <a:gd name="T51" fmla="*/ 315 h 406"/>
                <a:gd name="T52" fmla="*/ 211 w 495"/>
                <a:gd name="T53" fmla="*/ 302 h 406"/>
                <a:gd name="T54" fmla="*/ 228 w 495"/>
                <a:gd name="T55" fmla="*/ 285 h 406"/>
                <a:gd name="T56" fmla="*/ 204 w 495"/>
                <a:gd name="T57" fmla="*/ 251 h 406"/>
                <a:gd name="T58" fmla="*/ 225 w 495"/>
                <a:gd name="T59" fmla="*/ 236 h 406"/>
                <a:gd name="T60" fmla="*/ 200 w 495"/>
                <a:gd name="T61" fmla="*/ 211 h 406"/>
                <a:gd name="T62" fmla="*/ 162 w 495"/>
                <a:gd name="T63" fmla="*/ 204 h 406"/>
                <a:gd name="T64" fmla="*/ 177 w 495"/>
                <a:gd name="T65" fmla="*/ 166 h 406"/>
                <a:gd name="T66" fmla="*/ 164 w 495"/>
                <a:gd name="T67" fmla="*/ 153 h 406"/>
                <a:gd name="T68" fmla="*/ 149 w 495"/>
                <a:gd name="T69" fmla="*/ 177 h 406"/>
                <a:gd name="T70" fmla="*/ 62 w 495"/>
                <a:gd name="T71" fmla="*/ 149 h 406"/>
                <a:gd name="T72" fmla="*/ 55 w 495"/>
                <a:gd name="T73" fmla="*/ 126 h 406"/>
                <a:gd name="T74" fmla="*/ 70 w 495"/>
                <a:gd name="T75" fmla="*/ 115 h 406"/>
                <a:gd name="T76" fmla="*/ 26 w 495"/>
                <a:gd name="T77" fmla="*/ 100 h 406"/>
                <a:gd name="T78" fmla="*/ 0 w 495"/>
                <a:gd name="T79" fmla="*/ 30 h 406"/>
                <a:gd name="T80" fmla="*/ 104 w 495"/>
                <a:gd name="T81" fmla="*/ 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95" h="406">
                  <a:moveTo>
                    <a:pt x="104" y="0"/>
                  </a:moveTo>
                  <a:lnTo>
                    <a:pt x="123" y="51"/>
                  </a:lnTo>
                  <a:lnTo>
                    <a:pt x="117" y="85"/>
                  </a:lnTo>
                  <a:lnTo>
                    <a:pt x="166" y="136"/>
                  </a:lnTo>
                  <a:lnTo>
                    <a:pt x="185" y="143"/>
                  </a:lnTo>
                  <a:lnTo>
                    <a:pt x="213" y="115"/>
                  </a:lnTo>
                  <a:lnTo>
                    <a:pt x="240" y="111"/>
                  </a:lnTo>
                  <a:lnTo>
                    <a:pt x="268" y="145"/>
                  </a:lnTo>
                  <a:lnTo>
                    <a:pt x="274" y="206"/>
                  </a:lnTo>
                  <a:lnTo>
                    <a:pt x="351" y="217"/>
                  </a:lnTo>
                  <a:lnTo>
                    <a:pt x="374" y="289"/>
                  </a:lnTo>
                  <a:lnTo>
                    <a:pt x="381" y="270"/>
                  </a:lnTo>
                  <a:lnTo>
                    <a:pt x="449" y="268"/>
                  </a:lnTo>
                  <a:lnTo>
                    <a:pt x="474" y="304"/>
                  </a:lnTo>
                  <a:lnTo>
                    <a:pt x="491" y="298"/>
                  </a:lnTo>
                  <a:lnTo>
                    <a:pt x="472" y="349"/>
                  </a:lnTo>
                  <a:lnTo>
                    <a:pt x="489" y="351"/>
                  </a:lnTo>
                  <a:lnTo>
                    <a:pt x="495" y="374"/>
                  </a:lnTo>
                  <a:lnTo>
                    <a:pt x="476" y="406"/>
                  </a:lnTo>
                  <a:lnTo>
                    <a:pt x="374" y="374"/>
                  </a:lnTo>
                  <a:lnTo>
                    <a:pt x="351" y="389"/>
                  </a:lnTo>
                  <a:lnTo>
                    <a:pt x="338" y="379"/>
                  </a:lnTo>
                  <a:lnTo>
                    <a:pt x="321" y="394"/>
                  </a:lnTo>
                  <a:lnTo>
                    <a:pt x="247" y="394"/>
                  </a:lnTo>
                  <a:lnTo>
                    <a:pt x="228" y="381"/>
                  </a:lnTo>
                  <a:lnTo>
                    <a:pt x="251" y="315"/>
                  </a:lnTo>
                  <a:lnTo>
                    <a:pt x="211" y="302"/>
                  </a:lnTo>
                  <a:lnTo>
                    <a:pt x="228" y="285"/>
                  </a:lnTo>
                  <a:lnTo>
                    <a:pt x="204" y="251"/>
                  </a:lnTo>
                  <a:lnTo>
                    <a:pt x="225" y="236"/>
                  </a:lnTo>
                  <a:lnTo>
                    <a:pt x="200" y="211"/>
                  </a:lnTo>
                  <a:lnTo>
                    <a:pt x="162" y="204"/>
                  </a:lnTo>
                  <a:lnTo>
                    <a:pt x="177" y="166"/>
                  </a:lnTo>
                  <a:lnTo>
                    <a:pt x="164" y="153"/>
                  </a:lnTo>
                  <a:lnTo>
                    <a:pt x="149" y="177"/>
                  </a:lnTo>
                  <a:lnTo>
                    <a:pt x="62" y="149"/>
                  </a:lnTo>
                  <a:lnTo>
                    <a:pt x="55" y="126"/>
                  </a:lnTo>
                  <a:lnTo>
                    <a:pt x="70" y="115"/>
                  </a:lnTo>
                  <a:lnTo>
                    <a:pt x="26" y="100"/>
                  </a:lnTo>
                  <a:lnTo>
                    <a:pt x="0" y="30"/>
                  </a:lnTo>
                  <a:lnTo>
                    <a:pt x="104" y="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7" name="Freeform 70">
              <a:extLst>
                <a:ext uri="{FF2B5EF4-FFF2-40B4-BE49-F238E27FC236}">
                  <a16:creationId xmlns:a16="http://schemas.microsoft.com/office/drawing/2014/main" id="{C97CAA5E-1C18-4ECE-8E63-23E3E7D37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1932" y="2624163"/>
              <a:ext cx="678665" cy="432994"/>
            </a:xfrm>
            <a:custGeom>
              <a:avLst/>
              <a:gdLst>
                <a:gd name="T0" fmla="*/ 0 w 442"/>
                <a:gd name="T1" fmla="*/ 155 h 282"/>
                <a:gd name="T2" fmla="*/ 23 w 442"/>
                <a:gd name="T3" fmla="*/ 176 h 282"/>
                <a:gd name="T4" fmla="*/ 44 w 442"/>
                <a:gd name="T5" fmla="*/ 161 h 282"/>
                <a:gd name="T6" fmla="*/ 49 w 442"/>
                <a:gd name="T7" fmla="*/ 176 h 282"/>
                <a:gd name="T8" fmla="*/ 98 w 442"/>
                <a:gd name="T9" fmla="*/ 153 h 282"/>
                <a:gd name="T10" fmla="*/ 121 w 442"/>
                <a:gd name="T11" fmla="*/ 163 h 282"/>
                <a:gd name="T12" fmla="*/ 151 w 442"/>
                <a:gd name="T13" fmla="*/ 136 h 282"/>
                <a:gd name="T14" fmla="*/ 172 w 442"/>
                <a:gd name="T15" fmla="*/ 151 h 282"/>
                <a:gd name="T16" fmla="*/ 174 w 442"/>
                <a:gd name="T17" fmla="*/ 178 h 282"/>
                <a:gd name="T18" fmla="*/ 195 w 442"/>
                <a:gd name="T19" fmla="*/ 180 h 282"/>
                <a:gd name="T20" fmla="*/ 193 w 442"/>
                <a:gd name="T21" fmla="*/ 208 h 282"/>
                <a:gd name="T22" fmla="*/ 276 w 442"/>
                <a:gd name="T23" fmla="*/ 172 h 282"/>
                <a:gd name="T24" fmla="*/ 300 w 442"/>
                <a:gd name="T25" fmla="*/ 193 h 282"/>
                <a:gd name="T26" fmla="*/ 302 w 442"/>
                <a:gd name="T27" fmla="*/ 233 h 282"/>
                <a:gd name="T28" fmla="*/ 395 w 442"/>
                <a:gd name="T29" fmla="*/ 282 h 282"/>
                <a:gd name="T30" fmla="*/ 391 w 442"/>
                <a:gd name="T31" fmla="*/ 244 h 282"/>
                <a:gd name="T32" fmla="*/ 389 w 442"/>
                <a:gd name="T33" fmla="*/ 244 h 282"/>
                <a:gd name="T34" fmla="*/ 442 w 442"/>
                <a:gd name="T35" fmla="*/ 193 h 282"/>
                <a:gd name="T36" fmla="*/ 406 w 442"/>
                <a:gd name="T37" fmla="*/ 108 h 282"/>
                <a:gd name="T38" fmla="*/ 357 w 442"/>
                <a:gd name="T39" fmla="*/ 25 h 282"/>
                <a:gd name="T40" fmla="*/ 317 w 442"/>
                <a:gd name="T41" fmla="*/ 25 h 282"/>
                <a:gd name="T42" fmla="*/ 312 w 442"/>
                <a:gd name="T43" fmla="*/ 4 h 282"/>
                <a:gd name="T44" fmla="*/ 244 w 442"/>
                <a:gd name="T45" fmla="*/ 0 h 282"/>
                <a:gd name="T46" fmla="*/ 183 w 442"/>
                <a:gd name="T47" fmla="*/ 46 h 282"/>
                <a:gd name="T48" fmla="*/ 134 w 442"/>
                <a:gd name="T49" fmla="*/ 27 h 282"/>
                <a:gd name="T50" fmla="*/ 130 w 442"/>
                <a:gd name="T51" fmla="*/ 40 h 282"/>
                <a:gd name="T52" fmla="*/ 110 w 442"/>
                <a:gd name="T53" fmla="*/ 21 h 282"/>
                <a:gd name="T54" fmla="*/ 76 w 442"/>
                <a:gd name="T55" fmla="*/ 36 h 282"/>
                <a:gd name="T56" fmla="*/ 47 w 442"/>
                <a:gd name="T57" fmla="*/ 27 h 282"/>
                <a:gd name="T58" fmla="*/ 10 w 442"/>
                <a:gd name="T59" fmla="*/ 61 h 282"/>
                <a:gd name="T60" fmla="*/ 30 w 442"/>
                <a:gd name="T61" fmla="*/ 110 h 282"/>
                <a:gd name="T62" fmla="*/ 0 w 442"/>
                <a:gd name="T63" fmla="*/ 151 h 282"/>
                <a:gd name="T64" fmla="*/ 0 w 442"/>
                <a:gd name="T65" fmla="*/ 155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2" h="282">
                  <a:moveTo>
                    <a:pt x="0" y="155"/>
                  </a:moveTo>
                  <a:lnTo>
                    <a:pt x="23" y="176"/>
                  </a:lnTo>
                  <a:lnTo>
                    <a:pt x="44" y="161"/>
                  </a:lnTo>
                  <a:lnTo>
                    <a:pt x="49" y="176"/>
                  </a:lnTo>
                  <a:lnTo>
                    <a:pt x="98" y="153"/>
                  </a:lnTo>
                  <a:lnTo>
                    <a:pt x="121" y="163"/>
                  </a:lnTo>
                  <a:lnTo>
                    <a:pt x="151" y="136"/>
                  </a:lnTo>
                  <a:lnTo>
                    <a:pt x="172" y="151"/>
                  </a:lnTo>
                  <a:lnTo>
                    <a:pt x="174" y="178"/>
                  </a:lnTo>
                  <a:lnTo>
                    <a:pt x="195" y="180"/>
                  </a:lnTo>
                  <a:lnTo>
                    <a:pt x="193" y="208"/>
                  </a:lnTo>
                  <a:lnTo>
                    <a:pt x="276" y="172"/>
                  </a:lnTo>
                  <a:lnTo>
                    <a:pt x="300" y="193"/>
                  </a:lnTo>
                  <a:lnTo>
                    <a:pt x="302" y="233"/>
                  </a:lnTo>
                  <a:lnTo>
                    <a:pt x="395" y="282"/>
                  </a:lnTo>
                  <a:lnTo>
                    <a:pt x="391" y="244"/>
                  </a:lnTo>
                  <a:lnTo>
                    <a:pt x="389" y="244"/>
                  </a:lnTo>
                  <a:lnTo>
                    <a:pt x="442" y="193"/>
                  </a:lnTo>
                  <a:lnTo>
                    <a:pt x="406" y="108"/>
                  </a:lnTo>
                  <a:lnTo>
                    <a:pt x="357" y="25"/>
                  </a:lnTo>
                  <a:lnTo>
                    <a:pt x="317" y="25"/>
                  </a:lnTo>
                  <a:lnTo>
                    <a:pt x="312" y="4"/>
                  </a:lnTo>
                  <a:lnTo>
                    <a:pt x="244" y="0"/>
                  </a:lnTo>
                  <a:lnTo>
                    <a:pt x="183" y="46"/>
                  </a:lnTo>
                  <a:lnTo>
                    <a:pt x="134" y="27"/>
                  </a:lnTo>
                  <a:lnTo>
                    <a:pt x="130" y="40"/>
                  </a:lnTo>
                  <a:lnTo>
                    <a:pt x="110" y="21"/>
                  </a:lnTo>
                  <a:lnTo>
                    <a:pt x="76" y="36"/>
                  </a:lnTo>
                  <a:lnTo>
                    <a:pt x="47" y="27"/>
                  </a:lnTo>
                  <a:lnTo>
                    <a:pt x="10" y="61"/>
                  </a:lnTo>
                  <a:lnTo>
                    <a:pt x="30" y="110"/>
                  </a:lnTo>
                  <a:lnTo>
                    <a:pt x="0" y="151"/>
                  </a:lnTo>
                  <a:lnTo>
                    <a:pt x="0" y="15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6E80A726-9D80-4AA0-A9EE-07546A900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066" y="5619808"/>
              <a:ext cx="403821" cy="529728"/>
            </a:xfrm>
            <a:custGeom>
              <a:avLst/>
              <a:gdLst>
                <a:gd name="T0" fmla="*/ 2 w 263"/>
                <a:gd name="T1" fmla="*/ 274 h 345"/>
                <a:gd name="T2" fmla="*/ 42 w 263"/>
                <a:gd name="T3" fmla="*/ 296 h 345"/>
                <a:gd name="T4" fmla="*/ 68 w 263"/>
                <a:gd name="T5" fmla="*/ 334 h 345"/>
                <a:gd name="T6" fmla="*/ 134 w 263"/>
                <a:gd name="T7" fmla="*/ 321 h 345"/>
                <a:gd name="T8" fmla="*/ 163 w 263"/>
                <a:gd name="T9" fmla="*/ 345 h 345"/>
                <a:gd name="T10" fmla="*/ 183 w 263"/>
                <a:gd name="T11" fmla="*/ 328 h 345"/>
                <a:gd name="T12" fmla="*/ 214 w 263"/>
                <a:gd name="T13" fmla="*/ 338 h 345"/>
                <a:gd name="T14" fmla="*/ 206 w 263"/>
                <a:gd name="T15" fmla="*/ 326 h 345"/>
                <a:gd name="T16" fmla="*/ 208 w 263"/>
                <a:gd name="T17" fmla="*/ 319 h 345"/>
                <a:gd name="T18" fmla="*/ 217 w 263"/>
                <a:gd name="T19" fmla="*/ 272 h 345"/>
                <a:gd name="T20" fmla="*/ 238 w 263"/>
                <a:gd name="T21" fmla="*/ 279 h 345"/>
                <a:gd name="T22" fmla="*/ 263 w 263"/>
                <a:gd name="T23" fmla="*/ 243 h 345"/>
                <a:gd name="T24" fmla="*/ 253 w 263"/>
                <a:gd name="T25" fmla="*/ 217 h 345"/>
                <a:gd name="T26" fmla="*/ 229 w 263"/>
                <a:gd name="T27" fmla="*/ 226 h 345"/>
                <a:gd name="T28" fmla="*/ 240 w 263"/>
                <a:gd name="T29" fmla="*/ 200 h 345"/>
                <a:gd name="T30" fmla="*/ 210 w 263"/>
                <a:gd name="T31" fmla="*/ 179 h 345"/>
                <a:gd name="T32" fmla="*/ 257 w 263"/>
                <a:gd name="T33" fmla="*/ 115 h 345"/>
                <a:gd name="T34" fmla="*/ 183 w 263"/>
                <a:gd name="T35" fmla="*/ 100 h 345"/>
                <a:gd name="T36" fmla="*/ 174 w 263"/>
                <a:gd name="T37" fmla="*/ 83 h 345"/>
                <a:gd name="T38" fmla="*/ 144 w 263"/>
                <a:gd name="T39" fmla="*/ 90 h 345"/>
                <a:gd name="T40" fmla="*/ 127 w 263"/>
                <a:gd name="T41" fmla="*/ 34 h 345"/>
                <a:gd name="T42" fmla="*/ 93 w 263"/>
                <a:gd name="T43" fmla="*/ 0 h 345"/>
                <a:gd name="T44" fmla="*/ 72 w 263"/>
                <a:gd name="T45" fmla="*/ 9 h 345"/>
                <a:gd name="T46" fmla="*/ 91 w 263"/>
                <a:gd name="T47" fmla="*/ 49 h 345"/>
                <a:gd name="T48" fmla="*/ 78 w 263"/>
                <a:gd name="T49" fmla="*/ 70 h 345"/>
                <a:gd name="T50" fmla="*/ 95 w 263"/>
                <a:gd name="T51" fmla="*/ 60 h 345"/>
                <a:gd name="T52" fmla="*/ 102 w 263"/>
                <a:gd name="T53" fmla="*/ 98 h 345"/>
                <a:gd name="T54" fmla="*/ 0 w 263"/>
                <a:gd name="T55" fmla="*/ 249 h 345"/>
                <a:gd name="T56" fmla="*/ 2 w 263"/>
                <a:gd name="T57" fmla="*/ 274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3" h="345">
                  <a:moveTo>
                    <a:pt x="2" y="274"/>
                  </a:moveTo>
                  <a:lnTo>
                    <a:pt x="42" y="296"/>
                  </a:lnTo>
                  <a:lnTo>
                    <a:pt x="68" y="334"/>
                  </a:lnTo>
                  <a:lnTo>
                    <a:pt x="134" y="321"/>
                  </a:lnTo>
                  <a:lnTo>
                    <a:pt x="163" y="345"/>
                  </a:lnTo>
                  <a:lnTo>
                    <a:pt x="183" y="328"/>
                  </a:lnTo>
                  <a:lnTo>
                    <a:pt x="214" y="338"/>
                  </a:lnTo>
                  <a:lnTo>
                    <a:pt x="206" y="326"/>
                  </a:lnTo>
                  <a:lnTo>
                    <a:pt x="208" y="319"/>
                  </a:lnTo>
                  <a:lnTo>
                    <a:pt x="217" y="272"/>
                  </a:lnTo>
                  <a:lnTo>
                    <a:pt x="238" y="279"/>
                  </a:lnTo>
                  <a:lnTo>
                    <a:pt x="263" y="243"/>
                  </a:lnTo>
                  <a:lnTo>
                    <a:pt x="253" y="217"/>
                  </a:lnTo>
                  <a:lnTo>
                    <a:pt x="229" y="226"/>
                  </a:lnTo>
                  <a:lnTo>
                    <a:pt x="240" y="200"/>
                  </a:lnTo>
                  <a:lnTo>
                    <a:pt x="210" y="179"/>
                  </a:lnTo>
                  <a:lnTo>
                    <a:pt x="257" y="115"/>
                  </a:lnTo>
                  <a:lnTo>
                    <a:pt x="183" y="100"/>
                  </a:lnTo>
                  <a:lnTo>
                    <a:pt x="174" y="83"/>
                  </a:lnTo>
                  <a:lnTo>
                    <a:pt x="144" y="90"/>
                  </a:lnTo>
                  <a:lnTo>
                    <a:pt x="127" y="34"/>
                  </a:lnTo>
                  <a:lnTo>
                    <a:pt x="93" y="0"/>
                  </a:lnTo>
                  <a:lnTo>
                    <a:pt x="72" y="9"/>
                  </a:lnTo>
                  <a:lnTo>
                    <a:pt x="91" y="49"/>
                  </a:lnTo>
                  <a:lnTo>
                    <a:pt x="78" y="70"/>
                  </a:lnTo>
                  <a:lnTo>
                    <a:pt x="95" y="60"/>
                  </a:lnTo>
                  <a:lnTo>
                    <a:pt x="102" y="98"/>
                  </a:lnTo>
                  <a:lnTo>
                    <a:pt x="0" y="249"/>
                  </a:lnTo>
                  <a:lnTo>
                    <a:pt x="2" y="274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9" name="Freeform 72">
              <a:extLst>
                <a:ext uri="{FF2B5EF4-FFF2-40B4-BE49-F238E27FC236}">
                  <a16:creationId xmlns:a16="http://schemas.microsoft.com/office/drawing/2014/main" id="{2F663204-A7B2-4E80-98DD-3729AF02A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801" y="3152354"/>
              <a:ext cx="545082" cy="440672"/>
            </a:xfrm>
            <a:custGeom>
              <a:avLst/>
              <a:gdLst>
                <a:gd name="T0" fmla="*/ 0 w 355"/>
                <a:gd name="T1" fmla="*/ 159 h 287"/>
                <a:gd name="T2" fmla="*/ 27 w 355"/>
                <a:gd name="T3" fmla="*/ 159 h 287"/>
                <a:gd name="T4" fmla="*/ 27 w 355"/>
                <a:gd name="T5" fmla="*/ 187 h 287"/>
                <a:gd name="T6" fmla="*/ 2 w 355"/>
                <a:gd name="T7" fmla="*/ 210 h 287"/>
                <a:gd name="T8" fmla="*/ 32 w 355"/>
                <a:gd name="T9" fmla="*/ 236 h 287"/>
                <a:gd name="T10" fmla="*/ 40 w 355"/>
                <a:gd name="T11" fmla="*/ 268 h 287"/>
                <a:gd name="T12" fmla="*/ 55 w 355"/>
                <a:gd name="T13" fmla="*/ 287 h 287"/>
                <a:gd name="T14" fmla="*/ 85 w 355"/>
                <a:gd name="T15" fmla="*/ 281 h 287"/>
                <a:gd name="T16" fmla="*/ 87 w 355"/>
                <a:gd name="T17" fmla="*/ 279 h 287"/>
                <a:gd name="T18" fmla="*/ 217 w 355"/>
                <a:gd name="T19" fmla="*/ 223 h 287"/>
                <a:gd name="T20" fmla="*/ 238 w 355"/>
                <a:gd name="T21" fmla="*/ 189 h 287"/>
                <a:gd name="T22" fmla="*/ 293 w 355"/>
                <a:gd name="T23" fmla="*/ 191 h 287"/>
                <a:gd name="T24" fmla="*/ 319 w 355"/>
                <a:gd name="T25" fmla="*/ 159 h 287"/>
                <a:gd name="T26" fmla="*/ 355 w 355"/>
                <a:gd name="T27" fmla="*/ 164 h 287"/>
                <a:gd name="T28" fmla="*/ 340 w 355"/>
                <a:gd name="T29" fmla="*/ 100 h 287"/>
                <a:gd name="T30" fmla="*/ 338 w 355"/>
                <a:gd name="T31" fmla="*/ 96 h 287"/>
                <a:gd name="T32" fmla="*/ 353 w 355"/>
                <a:gd name="T33" fmla="*/ 70 h 287"/>
                <a:gd name="T34" fmla="*/ 297 w 355"/>
                <a:gd name="T35" fmla="*/ 26 h 287"/>
                <a:gd name="T36" fmla="*/ 268 w 355"/>
                <a:gd name="T37" fmla="*/ 47 h 287"/>
                <a:gd name="T38" fmla="*/ 251 w 355"/>
                <a:gd name="T39" fmla="*/ 28 h 287"/>
                <a:gd name="T40" fmla="*/ 251 w 355"/>
                <a:gd name="T41" fmla="*/ 28 h 287"/>
                <a:gd name="T42" fmla="*/ 202 w 355"/>
                <a:gd name="T43" fmla="*/ 34 h 287"/>
                <a:gd name="T44" fmla="*/ 180 w 355"/>
                <a:gd name="T45" fmla="*/ 0 h 287"/>
                <a:gd name="T46" fmla="*/ 123 w 355"/>
                <a:gd name="T47" fmla="*/ 38 h 287"/>
                <a:gd name="T48" fmla="*/ 108 w 355"/>
                <a:gd name="T49" fmla="*/ 68 h 287"/>
                <a:gd name="T50" fmla="*/ 74 w 355"/>
                <a:gd name="T51" fmla="*/ 81 h 287"/>
                <a:gd name="T52" fmla="*/ 78 w 355"/>
                <a:gd name="T53" fmla="*/ 128 h 287"/>
                <a:gd name="T54" fmla="*/ 12 w 355"/>
                <a:gd name="T55" fmla="*/ 132 h 287"/>
                <a:gd name="T56" fmla="*/ 0 w 355"/>
                <a:gd name="T57" fmla="*/ 153 h 287"/>
                <a:gd name="T58" fmla="*/ 0 w 355"/>
                <a:gd name="T59" fmla="*/ 159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5" h="287">
                  <a:moveTo>
                    <a:pt x="0" y="159"/>
                  </a:moveTo>
                  <a:lnTo>
                    <a:pt x="27" y="159"/>
                  </a:lnTo>
                  <a:lnTo>
                    <a:pt x="27" y="187"/>
                  </a:lnTo>
                  <a:lnTo>
                    <a:pt x="2" y="210"/>
                  </a:lnTo>
                  <a:lnTo>
                    <a:pt x="32" y="236"/>
                  </a:lnTo>
                  <a:lnTo>
                    <a:pt x="40" y="268"/>
                  </a:lnTo>
                  <a:lnTo>
                    <a:pt x="55" y="287"/>
                  </a:lnTo>
                  <a:lnTo>
                    <a:pt x="85" y="281"/>
                  </a:lnTo>
                  <a:lnTo>
                    <a:pt x="87" y="279"/>
                  </a:lnTo>
                  <a:lnTo>
                    <a:pt x="217" y="223"/>
                  </a:lnTo>
                  <a:lnTo>
                    <a:pt x="238" y="189"/>
                  </a:lnTo>
                  <a:lnTo>
                    <a:pt x="293" y="191"/>
                  </a:lnTo>
                  <a:lnTo>
                    <a:pt x="319" y="159"/>
                  </a:lnTo>
                  <a:lnTo>
                    <a:pt x="355" y="164"/>
                  </a:lnTo>
                  <a:lnTo>
                    <a:pt x="340" y="100"/>
                  </a:lnTo>
                  <a:lnTo>
                    <a:pt x="338" y="96"/>
                  </a:lnTo>
                  <a:lnTo>
                    <a:pt x="353" y="70"/>
                  </a:lnTo>
                  <a:lnTo>
                    <a:pt x="297" y="26"/>
                  </a:lnTo>
                  <a:lnTo>
                    <a:pt x="268" y="47"/>
                  </a:lnTo>
                  <a:lnTo>
                    <a:pt x="251" y="28"/>
                  </a:lnTo>
                  <a:lnTo>
                    <a:pt x="251" y="28"/>
                  </a:lnTo>
                  <a:lnTo>
                    <a:pt x="202" y="34"/>
                  </a:lnTo>
                  <a:lnTo>
                    <a:pt x="180" y="0"/>
                  </a:lnTo>
                  <a:lnTo>
                    <a:pt x="123" y="38"/>
                  </a:lnTo>
                  <a:lnTo>
                    <a:pt x="108" y="68"/>
                  </a:lnTo>
                  <a:lnTo>
                    <a:pt x="74" y="81"/>
                  </a:lnTo>
                  <a:lnTo>
                    <a:pt x="78" y="128"/>
                  </a:lnTo>
                  <a:lnTo>
                    <a:pt x="12" y="132"/>
                  </a:lnTo>
                  <a:lnTo>
                    <a:pt x="0" y="153"/>
                  </a:lnTo>
                  <a:lnTo>
                    <a:pt x="0" y="1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0" name="Freeform 73">
              <a:extLst>
                <a:ext uri="{FF2B5EF4-FFF2-40B4-BE49-F238E27FC236}">
                  <a16:creationId xmlns:a16="http://schemas.microsoft.com/office/drawing/2014/main" id="{09F8FFBF-3DBF-4DE6-911E-CD847EACF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6579" y="2013057"/>
              <a:ext cx="623389" cy="454490"/>
            </a:xfrm>
            <a:custGeom>
              <a:avLst/>
              <a:gdLst>
                <a:gd name="T0" fmla="*/ 22 w 406"/>
                <a:gd name="T1" fmla="*/ 130 h 296"/>
                <a:gd name="T2" fmla="*/ 124 w 406"/>
                <a:gd name="T3" fmla="*/ 72 h 296"/>
                <a:gd name="T4" fmla="*/ 249 w 406"/>
                <a:gd name="T5" fmla="*/ 45 h 296"/>
                <a:gd name="T6" fmla="*/ 313 w 406"/>
                <a:gd name="T7" fmla="*/ 0 h 296"/>
                <a:gd name="T8" fmla="*/ 319 w 406"/>
                <a:gd name="T9" fmla="*/ 4 h 296"/>
                <a:gd name="T10" fmla="*/ 385 w 406"/>
                <a:gd name="T11" fmla="*/ 60 h 296"/>
                <a:gd name="T12" fmla="*/ 406 w 406"/>
                <a:gd name="T13" fmla="*/ 115 h 296"/>
                <a:gd name="T14" fmla="*/ 383 w 406"/>
                <a:gd name="T15" fmla="*/ 136 h 296"/>
                <a:gd name="T16" fmla="*/ 398 w 406"/>
                <a:gd name="T17" fmla="*/ 142 h 296"/>
                <a:gd name="T18" fmla="*/ 385 w 406"/>
                <a:gd name="T19" fmla="*/ 155 h 296"/>
                <a:gd name="T20" fmla="*/ 389 w 406"/>
                <a:gd name="T21" fmla="*/ 208 h 296"/>
                <a:gd name="T22" fmla="*/ 404 w 406"/>
                <a:gd name="T23" fmla="*/ 213 h 296"/>
                <a:gd name="T24" fmla="*/ 385 w 406"/>
                <a:gd name="T25" fmla="*/ 242 h 296"/>
                <a:gd name="T26" fmla="*/ 309 w 406"/>
                <a:gd name="T27" fmla="*/ 221 h 296"/>
                <a:gd name="T28" fmla="*/ 281 w 406"/>
                <a:gd name="T29" fmla="*/ 259 h 296"/>
                <a:gd name="T30" fmla="*/ 215 w 406"/>
                <a:gd name="T31" fmla="*/ 296 h 296"/>
                <a:gd name="T32" fmla="*/ 177 w 406"/>
                <a:gd name="T33" fmla="*/ 266 h 296"/>
                <a:gd name="T34" fmla="*/ 198 w 406"/>
                <a:gd name="T35" fmla="*/ 262 h 296"/>
                <a:gd name="T36" fmla="*/ 196 w 406"/>
                <a:gd name="T37" fmla="*/ 249 h 296"/>
                <a:gd name="T38" fmla="*/ 168 w 406"/>
                <a:gd name="T39" fmla="*/ 230 h 296"/>
                <a:gd name="T40" fmla="*/ 134 w 406"/>
                <a:gd name="T41" fmla="*/ 236 h 296"/>
                <a:gd name="T42" fmla="*/ 98 w 406"/>
                <a:gd name="T43" fmla="*/ 206 h 296"/>
                <a:gd name="T44" fmla="*/ 70 w 406"/>
                <a:gd name="T45" fmla="*/ 219 h 296"/>
                <a:gd name="T46" fmla="*/ 0 w 406"/>
                <a:gd name="T47" fmla="*/ 202 h 296"/>
                <a:gd name="T48" fmla="*/ 22 w 406"/>
                <a:gd name="T49" fmla="*/ 13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6" h="296">
                  <a:moveTo>
                    <a:pt x="22" y="130"/>
                  </a:moveTo>
                  <a:lnTo>
                    <a:pt x="124" y="72"/>
                  </a:lnTo>
                  <a:lnTo>
                    <a:pt x="249" y="45"/>
                  </a:lnTo>
                  <a:lnTo>
                    <a:pt x="313" y="0"/>
                  </a:lnTo>
                  <a:lnTo>
                    <a:pt x="319" y="4"/>
                  </a:lnTo>
                  <a:lnTo>
                    <a:pt x="385" y="60"/>
                  </a:lnTo>
                  <a:lnTo>
                    <a:pt x="406" y="115"/>
                  </a:lnTo>
                  <a:lnTo>
                    <a:pt x="383" y="136"/>
                  </a:lnTo>
                  <a:lnTo>
                    <a:pt x="398" y="142"/>
                  </a:lnTo>
                  <a:lnTo>
                    <a:pt x="385" y="155"/>
                  </a:lnTo>
                  <a:lnTo>
                    <a:pt x="389" y="208"/>
                  </a:lnTo>
                  <a:lnTo>
                    <a:pt x="404" y="213"/>
                  </a:lnTo>
                  <a:lnTo>
                    <a:pt x="385" y="242"/>
                  </a:lnTo>
                  <a:lnTo>
                    <a:pt x="309" y="221"/>
                  </a:lnTo>
                  <a:lnTo>
                    <a:pt x="281" y="259"/>
                  </a:lnTo>
                  <a:lnTo>
                    <a:pt x="215" y="296"/>
                  </a:lnTo>
                  <a:lnTo>
                    <a:pt x="177" y="266"/>
                  </a:lnTo>
                  <a:lnTo>
                    <a:pt x="198" y="262"/>
                  </a:lnTo>
                  <a:lnTo>
                    <a:pt x="196" y="249"/>
                  </a:lnTo>
                  <a:lnTo>
                    <a:pt x="168" y="230"/>
                  </a:lnTo>
                  <a:lnTo>
                    <a:pt x="134" y="236"/>
                  </a:lnTo>
                  <a:lnTo>
                    <a:pt x="98" y="206"/>
                  </a:lnTo>
                  <a:lnTo>
                    <a:pt x="70" y="219"/>
                  </a:lnTo>
                  <a:lnTo>
                    <a:pt x="0" y="202"/>
                  </a:lnTo>
                  <a:lnTo>
                    <a:pt x="22" y="13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1" name="Freeform 74">
              <a:extLst>
                <a:ext uri="{FF2B5EF4-FFF2-40B4-BE49-F238E27FC236}">
                  <a16:creationId xmlns:a16="http://schemas.microsoft.com/office/drawing/2014/main" id="{83F67E82-EA90-4DD9-B88C-D49048A36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6384" y="2567352"/>
              <a:ext cx="284057" cy="353151"/>
            </a:xfrm>
            <a:custGeom>
              <a:avLst/>
              <a:gdLst>
                <a:gd name="T0" fmla="*/ 0 w 185"/>
                <a:gd name="T1" fmla="*/ 9 h 230"/>
                <a:gd name="T2" fmla="*/ 41 w 185"/>
                <a:gd name="T3" fmla="*/ 0 h 230"/>
                <a:gd name="T4" fmla="*/ 41 w 185"/>
                <a:gd name="T5" fmla="*/ 5 h 230"/>
                <a:gd name="T6" fmla="*/ 75 w 185"/>
                <a:gd name="T7" fmla="*/ 9 h 230"/>
                <a:gd name="T8" fmla="*/ 77 w 185"/>
                <a:gd name="T9" fmla="*/ 9 h 230"/>
                <a:gd name="T10" fmla="*/ 81 w 185"/>
                <a:gd name="T11" fmla="*/ 11 h 230"/>
                <a:gd name="T12" fmla="*/ 83 w 185"/>
                <a:gd name="T13" fmla="*/ 11 h 230"/>
                <a:gd name="T14" fmla="*/ 140 w 185"/>
                <a:gd name="T15" fmla="*/ 34 h 230"/>
                <a:gd name="T16" fmla="*/ 162 w 185"/>
                <a:gd name="T17" fmla="*/ 28 h 230"/>
                <a:gd name="T18" fmla="*/ 181 w 185"/>
                <a:gd name="T19" fmla="*/ 66 h 230"/>
                <a:gd name="T20" fmla="*/ 168 w 185"/>
                <a:gd name="T21" fmla="*/ 92 h 230"/>
                <a:gd name="T22" fmla="*/ 168 w 185"/>
                <a:gd name="T23" fmla="*/ 94 h 230"/>
                <a:gd name="T24" fmla="*/ 185 w 185"/>
                <a:gd name="T25" fmla="*/ 115 h 230"/>
                <a:gd name="T26" fmla="*/ 132 w 185"/>
                <a:gd name="T27" fmla="*/ 158 h 230"/>
                <a:gd name="T28" fmla="*/ 145 w 185"/>
                <a:gd name="T29" fmla="*/ 173 h 230"/>
                <a:gd name="T30" fmla="*/ 134 w 185"/>
                <a:gd name="T31" fmla="*/ 194 h 230"/>
                <a:gd name="T32" fmla="*/ 115 w 185"/>
                <a:gd name="T33" fmla="*/ 192 h 230"/>
                <a:gd name="T34" fmla="*/ 126 w 185"/>
                <a:gd name="T35" fmla="*/ 202 h 230"/>
                <a:gd name="T36" fmla="*/ 109 w 185"/>
                <a:gd name="T37" fmla="*/ 226 h 230"/>
                <a:gd name="T38" fmla="*/ 111 w 185"/>
                <a:gd name="T39" fmla="*/ 230 h 230"/>
                <a:gd name="T40" fmla="*/ 83 w 185"/>
                <a:gd name="T41" fmla="*/ 226 h 230"/>
                <a:gd name="T42" fmla="*/ 77 w 185"/>
                <a:gd name="T43" fmla="*/ 194 h 230"/>
                <a:gd name="T44" fmla="*/ 34 w 185"/>
                <a:gd name="T45" fmla="*/ 154 h 230"/>
                <a:gd name="T46" fmla="*/ 34 w 185"/>
                <a:gd name="T47" fmla="*/ 90 h 230"/>
                <a:gd name="T48" fmla="*/ 13 w 185"/>
                <a:gd name="T49" fmla="*/ 51 h 230"/>
                <a:gd name="T50" fmla="*/ 0 w 185"/>
                <a:gd name="T51" fmla="*/ 11 h 230"/>
                <a:gd name="T52" fmla="*/ 0 w 185"/>
                <a:gd name="T53" fmla="*/ 9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85" h="230">
                  <a:moveTo>
                    <a:pt x="0" y="9"/>
                  </a:moveTo>
                  <a:lnTo>
                    <a:pt x="41" y="0"/>
                  </a:lnTo>
                  <a:lnTo>
                    <a:pt x="41" y="5"/>
                  </a:lnTo>
                  <a:lnTo>
                    <a:pt x="75" y="9"/>
                  </a:lnTo>
                  <a:lnTo>
                    <a:pt x="77" y="9"/>
                  </a:lnTo>
                  <a:lnTo>
                    <a:pt x="81" y="11"/>
                  </a:lnTo>
                  <a:lnTo>
                    <a:pt x="83" y="11"/>
                  </a:lnTo>
                  <a:lnTo>
                    <a:pt x="140" y="34"/>
                  </a:lnTo>
                  <a:lnTo>
                    <a:pt x="162" y="28"/>
                  </a:lnTo>
                  <a:lnTo>
                    <a:pt x="181" y="66"/>
                  </a:lnTo>
                  <a:lnTo>
                    <a:pt x="168" y="92"/>
                  </a:lnTo>
                  <a:lnTo>
                    <a:pt x="168" y="94"/>
                  </a:lnTo>
                  <a:lnTo>
                    <a:pt x="185" y="115"/>
                  </a:lnTo>
                  <a:lnTo>
                    <a:pt x="132" y="158"/>
                  </a:lnTo>
                  <a:lnTo>
                    <a:pt x="145" y="173"/>
                  </a:lnTo>
                  <a:lnTo>
                    <a:pt x="134" y="194"/>
                  </a:lnTo>
                  <a:lnTo>
                    <a:pt x="115" y="192"/>
                  </a:lnTo>
                  <a:lnTo>
                    <a:pt x="126" y="202"/>
                  </a:lnTo>
                  <a:lnTo>
                    <a:pt x="109" y="226"/>
                  </a:lnTo>
                  <a:lnTo>
                    <a:pt x="111" y="230"/>
                  </a:lnTo>
                  <a:lnTo>
                    <a:pt x="83" y="226"/>
                  </a:lnTo>
                  <a:lnTo>
                    <a:pt x="77" y="194"/>
                  </a:lnTo>
                  <a:lnTo>
                    <a:pt x="34" y="154"/>
                  </a:lnTo>
                  <a:lnTo>
                    <a:pt x="34" y="90"/>
                  </a:lnTo>
                  <a:lnTo>
                    <a:pt x="13" y="51"/>
                  </a:lnTo>
                  <a:lnTo>
                    <a:pt x="0" y="11"/>
                  </a:lnTo>
                  <a:lnTo>
                    <a:pt x="0" y="9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2" name="Freeform 75">
              <a:extLst>
                <a:ext uri="{FF2B5EF4-FFF2-40B4-BE49-F238E27FC236}">
                  <a16:creationId xmlns:a16="http://schemas.microsoft.com/office/drawing/2014/main" id="{AFBACD53-A5CA-4098-8476-0BB357828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4140" y="5312720"/>
              <a:ext cx="565042" cy="460632"/>
            </a:xfrm>
            <a:custGeom>
              <a:avLst/>
              <a:gdLst>
                <a:gd name="T0" fmla="*/ 0 w 368"/>
                <a:gd name="T1" fmla="*/ 90 h 300"/>
                <a:gd name="T2" fmla="*/ 4 w 368"/>
                <a:gd name="T3" fmla="*/ 102 h 300"/>
                <a:gd name="T4" fmla="*/ 13 w 368"/>
                <a:gd name="T5" fmla="*/ 139 h 300"/>
                <a:gd name="T6" fmla="*/ 42 w 368"/>
                <a:gd name="T7" fmla="*/ 175 h 300"/>
                <a:gd name="T8" fmla="*/ 32 w 368"/>
                <a:gd name="T9" fmla="*/ 183 h 300"/>
                <a:gd name="T10" fmla="*/ 49 w 368"/>
                <a:gd name="T11" fmla="*/ 194 h 300"/>
                <a:gd name="T12" fmla="*/ 38 w 368"/>
                <a:gd name="T13" fmla="*/ 209 h 300"/>
                <a:gd name="T14" fmla="*/ 96 w 368"/>
                <a:gd name="T15" fmla="*/ 256 h 300"/>
                <a:gd name="T16" fmla="*/ 132 w 368"/>
                <a:gd name="T17" fmla="*/ 256 h 300"/>
                <a:gd name="T18" fmla="*/ 127 w 368"/>
                <a:gd name="T19" fmla="*/ 281 h 300"/>
                <a:gd name="T20" fmla="*/ 174 w 368"/>
                <a:gd name="T21" fmla="*/ 300 h 300"/>
                <a:gd name="T22" fmla="*/ 187 w 368"/>
                <a:gd name="T23" fmla="*/ 273 h 300"/>
                <a:gd name="T24" fmla="*/ 270 w 368"/>
                <a:gd name="T25" fmla="*/ 287 h 300"/>
                <a:gd name="T26" fmla="*/ 297 w 368"/>
                <a:gd name="T27" fmla="*/ 270 h 300"/>
                <a:gd name="T28" fmla="*/ 283 w 368"/>
                <a:gd name="T29" fmla="*/ 234 h 300"/>
                <a:gd name="T30" fmla="*/ 291 w 368"/>
                <a:gd name="T31" fmla="*/ 202 h 300"/>
                <a:gd name="T32" fmla="*/ 319 w 368"/>
                <a:gd name="T33" fmla="*/ 217 h 300"/>
                <a:gd name="T34" fmla="*/ 368 w 368"/>
                <a:gd name="T35" fmla="*/ 187 h 300"/>
                <a:gd name="T36" fmla="*/ 359 w 368"/>
                <a:gd name="T37" fmla="*/ 170 h 300"/>
                <a:gd name="T38" fmla="*/ 317 w 368"/>
                <a:gd name="T39" fmla="*/ 175 h 300"/>
                <a:gd name="T40" fmla="*/ 287 w 368"/>
                <a:gd name="T41" fmla="*/ 156 h 300"/>
                <a:gd name="T42" fmla="*/ 253 w 368"/>
                <a:gd name="T43" fmla="*/ 71 h 300"/>
                <a:gd name="T44" fmla="*/ 210 w 368"/>
                <a:gd name="T45" fmla="*/ 28 h 300"/>
                <a:gd name="T46" fmla="*/ 172 w 368"/>
                <a:gd name="T47" fmla="*/ 24 h 300"/>
                <a:gd name="T48" fmla="*/ 183 w 368"/>
                <a:gd name="T49" fmla="*/ 15 h 300"/>
                <a:gd name="T50" fmla="*/ 161 w 368"/>
                <a:gd name="T51" fmla="*/ 0 h 300"/>
                <a:gd name="T52" fmla="*/ 121 w 368"/>
                <a:gd name="T53" fmla="*/ 17 h 300"/>
                <a:gd name="T54" fmla="*/ 102 w 368"/>
                <a:gd name="T55" fmla="*/ 13 h 300"/>
                <a:gd name="T56" fmla="*/ 64 w 368"/>
                <a:gd name="T57" fmla="*/ 37 h 300"/>
                <a:gd name="T58" fmla="*/ 32 w 368"/>
                <a:gd name="T59" fmla="*/ 30 h 300"/>
                <a:gd name="T60" fmla="*/ 45 w 368"/>
                <a:gd name="T61" fmla="*/ 56 h 300"/>
                <a:gd name="T62" fmla="*/ 21 w 368"/>
                <a:gd name="T63" fmla="*/ 85 h 300"/>
                <a:gd name="T64" fmla="*/ 0 w 368"/>
                <a:gd name="T65" fmla="*/ 88 h 300"/>
                <a:gd name="T66" fmla="*/ 0 w 368"/>
                <a:gd name="T67" fmla="*/ 9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8" h="300">
                  <a:moveTo>
                    <a:pt x="0" y="90"/>
                  </a:moveTo>
                  <a:lnTo>
                    <a:pt x="4" y="102"/>
                  </a:lnTo>
                  <a:lnTo>
                    <a:pt x="13" y="139"/>
                  </a:lnTo>
                  <a:lnTo>
                    <a:pt x="42" y="175"/>
                  </a:lnTo>
                  <a:lnTo>
                    <a:pt x="32" y="183"/>
                  </a:lnTo>
                  <a:lnTo>
                    <a:pt x="49" y="194"/>
                  </a:lnTo>
                  <a:lnTo>
                    <a:pt x="38" y="209"/>
                  </a:lnTo>
                  <a:lnTo>
                    <a:pt x="96" y="256"/>
                  </a:lnTo>
                  <a:lnTo>
                    <a:pt x="132" y="256"/>
                  </a:lnTo>
                  <a:lnTo>
                    <a:pt x="127" y="281"/>
                  </a:lnTo>
                  <a:lnTo>
                    <a:pt x="174" y="300"/>
                  </a:lnTo>
                  <a:lnTo>
                    <a:pt x="187" y="273"/>
                  </a:lnTo>
                  <a:lnTo>
                    <a:pt x="270" y="287"/>
                  </a:lnTo>
                  <a:lnTo>
                    <a:pt x="297" y="270"/>
                  </a:lnTo>
                  <a:lnTo>
                    <a:pt x="283" y="234"/>
                  </a:lnTo>
                  <a:lnTo>
                    <a:pt x="291" y="202"/>
                  </a:lnTo>
                  <a:lnTo>
                    <a:pt x="319" y="217"/>
                  </a:lnTo>
                  <a:lnTo>
                    <a:pt x="368" y="187"/>
                  </a:lnTo>
                  <a:lnTo>
                    <a:pt x="359" y="170"/>
                  </a:lnTo>
                  <a:lnTo>
                    <a:pt x="317" y="175"/>
                  </a:lnTo>
                  <a:lnTo>
                    <a:pt x="287" y="156"/>
                  </a:lnTo>
                  <a:lnTo>
                    <a:pt x="253" y="71"/>
                  </a:lnTo>
                  <a:lnTo>
                    <a:pt x="210" y="28"/>
                  </a:lnTo>
                  <a:lnTo>
                    <a:pt x="172" y="24"/>
                  </a:lnTo>
                  <a:lnTo>
                    <a:pt x="183" y="15"/>
                  </a:lnTo>
                  <a:lnTo>
                    <a:pt x="161" y="0"/>
                  </a:lnTo>
                  <a:lnTo>
                    <a:pt x="121" y="17"/>
                  </a:lnTo>
                  <a:lnTo>
                    <a:pt x="102" y="13"/>
                  </a:lnTo>
                  <a:lnTo>
                    <a:pt x="64" y="37"/>
                  </a:lnTo>
                  <a:lnTo>
                    <a:pt x="32" y="30"/>
                  </a:lnTo>
                  <a:lnTo>
                    <a:pt x="45" y="56"/>
                  </a:lnTo>
                  <a:lnTo>
                    <a:pt x="21" y="85"/>
                  </a:lnTo>
                  <a:lnTo>
                    <a:pt x="0" y="88"/>
                  </a:lnTo>
                  <a:lnTo>
                    <a:pt x="0" y="9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3" name="Freeform 76">
              <a:extLst>
                <a:ext uri="{FF2B5EF4-FFF2-40B4-BE49-F238E27FC236}">
                  <a16:creationId xmlns:a16="http://schemas.microsoft.com/office/drawing/2014/main" id="{E36DC752-9D48-45D3-9CD7-3F5F42DA46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4769" y="5199097"/>
              <a:ext cx="505160" cy="345475"/>
            </a:xfrm>
            <a:custGeom>
              <a:avLst/>
              <a:gdLst>
                <a:gd name="T0" fmla="*/ 0 w 329"/>
                <a:gd name="T1" fmla="*/ 106 h 225"/>
                <a:gd name="T2" fmla="*/ 12 w 329"/>
                <a:gd name="T3" fmla="*/ 87 h 225"/>
                <a:gd name="T4" fmla="*/ 36 w 329"/>
                <a:gd name="T5" fmla="*/ 91 h 225"/>
                <a:gd name="T6" fmla="*/ 29 w 329"/>
                <a:gd name="T7" fmla="*/ 74 h 225"/>
                <a:gd name="T8" fmla="*/ 55 w 329"/>
                <a:gd name="T9" fmla="*/ 40 h 225"/>
                <a:gd name="T10" fmla="*/ 36 w 329"/>
                <a:gd name="T11" fmla="*/ 26 h 225"/>
                <a:gd name="T12" fmla="*/ 42 w 329"/>
                <a:gd name="T13" fmla="*/ 4 h 225"/>
                <a:gd name="T14" fmla="*/ 87 w 329"/>
                <a:gd name="T15" fmla="*/ 2 h 225"/>
                <a:gd name="T16" fmla="*/ 104 w 329"/>
                <a:gd name="T17" fmla="*/ 0 h 225"/>
                <a:gd name="T18" fmla="*/ 91 w 329"/>
                <a:gd name="T19" fmla="*/ 13 h 225"/>
                <a:gd name="T20" fmla="*/ 125 w 329"/>
                <a:gd name="T21" fmla="*/ 43 h 225"/>
                <a:gd name="T22" fmla="*/ 146 w 329"/>
                <a:gd name="T23" fmla="*/ 36 h 225"/>
                <a:gd name="T24" fmla="*/ 144 w 329"/>
                <a:gd name="T25" fmla="*/ 55 h 225"/>
                <a:gd name="T26" fmla="*/ 161 w 329"/>
                <a:gd name="T27" fmla="*/ 68 h 225"/>
                <a:gd name="T28" fmla="*/ 193 w 329"/>
                <a:gd name="T29" fmla="*/ 40 h 225"/>
                <a:gd name="T30" fmla="*/ 212 w 329"/>
                <a:gd name="T31" fmla="*/ 60 h 225"/>
                <a:gd name="T32" fmla="*/ 221 w 329"/>
                <a:gd name="T33" fmla="*/ 34 h 225"/>
                <a:gd name="T34" fmla="*/ 236 w 329"/>
                <a:gd name="T35" fmla="*/ 47 h 225"/>
                <a:gd name="T36" fmla="*/ 299 w 329"/>
                <a:gd name="T37" fmla="*/ 23 h 225"/>
                <a:gd name="T38" fmla="*/ 297 w 329"/>
                <a:gd name="T39" fmla="*/ 40 h 225"/>
                <a:gd name="T40" fmla="*/ 323 w 329"/>
                <a:gd name="T41" fmla="*/ 45 h 225"/>
                <a:gd name="T42" fmla="*/ 301 w 329"/>
                <a:gd name="T43" fmla="*/ 70 h 225"/>
                <a:gd name="T44" fmla="*/ 329 w 329"/>
                <a:gd name="T45" fmla="*/ 91 h 225"/>
                <a:gd name="T46" fmla="*/ 310 w 329"/>
                <a:gd name="T47" fmla="*/ 87 h 225"/>
                <a:gd name="T48" fmla="*/ 272 w 329"/>
                <a:gd name="T49" fmla="*/ 111 h 225"/>
                <a:gd name="T50" fmla="*/ 240 w 329"/>
                <a:gd name="T51" fmla="*/ 104 h 225"/>
                <a:gd name="T52" fmla="*/ 253 w 329"/>
                <a:gd name="T53" fmla="*/ 130 h 225"/>
                <a:gd name="T54" fmla="*/ 229 w 329"/>
                <a:gd name="T55" fmla="*/ 159 h 225"/>
                <a:gd name="T56" fmla="*/ 208 w 329"/>
                <a:gd name="T57" fmla="*/ 162 h 225"/>
                <a:gd name="T58" fmla="*/ 208 w 329"/>
                <a:gd name="T59" fmla="*/ 164 h 225"/>
                <a:gd name="T60" fmla="*/ 212 w 329"/>
                <a:gd name="T61" fmla="*/ 176 h 225"/>
                <a:gd name="T62" fmla="*/ 161 w 329"/>
                <a:gd name="T63" fmla="*/ 183 h 225"/>
                <a:gd name="T64" fmla="*/ 144 w 329"/>
                <a:gd name="T65" fmla="*/ 198 h 225"/>
                <a:gd name="T66" fmla="*/ 159 w 329"/>
                <a:gd name="T67" fmla="*/ 208 h 225"/>
                <a:gd name="T68" fmla="*/ 121 w 329"/>
                <a:gd name="T69" fmla="*/ 225 h 225"/>
                <a:gd name="T70" fmla="*/ 104 w 329"/>
                <a:gd name="T71" fmla="*/ 206 h 225"/>
                <a:gd name="T72" fmla="*/ 51 w 329"/>
                <a:gd name="T73" fmla="*/ 217 h 225"/>
                <a:gd name="T74" fmla="*/ 38 w 329"/>
                <a:gd name="T75" fmla="*/ 217 h 225"/>
                <a:gd name="T76" fmla="*/ 36 w 329"/>
                <a:gd name="T77" fmla="*/ 172 h 225"/>
                <a:gd name="T78" fmla="*/ 2 w 329"/>
                <a:gd name="T79" fmla="*/ 159 h 225"/>
                <a:gd name="T80" fmla="*/ 29 w 329"/>
                <a:gd name="T81" fmla="*/ 123 h 225"/>
                <a:gd name="T82" fmla="*/ 0 w 329"/>
                <a:gd name="T83" fmla="*/ 115 h 225"/>
                <a:gd name="T84" fmla="*/ 0 w 329"/>
                <a:gd name="T85" fmla="*/ 106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9" h="225">
                  <a:moveTo>
                    <a:pt x="0" y="106"/>
                  </a:moveTo>
                  <a:lnTo>
                    <a:pt x="12" y="87"/>
                  </a:lnTo>
                  <a:lnTo>
                    <a:pt x="36" y="91"/>
                  </a:lnTo>
                  <a:lnTo>
                    <a:pt x="29" y="74"/>
                  </a:lnTo>
                  <a:lnTo>
                    <a:pt x="55" y="40"/>
                  </a:lnTo>
                  <a:lnTo>
                    <a:pt x="36" y="26"/>
                  </a:lnTo>
                  <a:lnTo>
                    <a:pt x="42" y="4"/>
                  </a:lnTo>
                  <a:lnTo>
                    <a:pt x="87" y="2"/>
                  </a:lnTo>
                  <a:lnTo>
                    <a:pt x="104" y="0"/>
                  </a:lnTo>
                  <a:lnTo>
                    <a:pt x="91" y="13"/>
                  </a:lnTo>
                  <a:lnTo>
                    <a:pt x="125" y="43"/>
                  </a:lnTo>
                  <a:lnTo>
                    <a:pt x="146" y="36"/>
                  </a:lnTo>
                  <a:lnTo>
                    <a:pt x="144" y="55"/>
                  </a:lnTo>
                  <a:lnTo>
                    <a:pt x="161" y="68"/>
                  </a:lnTo>
                  <a:lnTo>
                    <a:pt x="193" y="40"/>
                  </a:lnTo>
                  <a:lnTo>
                    <a:pt x="212" y="60"/>
                  </a:lnTo>
                  <a:lnTo>
                    <a:pt x="221" y="34"/>
                  </a:lnTo>
                  <a:lnTo>
                    <a:pt x="236" y="47"/>
                  </a:lnTo>
                  <a:lnTo>
                    <a:pt x="299" y="23"/>
                  </a:lnTo>
                  <a:lnTo>
                    <a:pt x="297" y="40"/>
                  </a:lnTo>
                  <a:lnTo>
                    <a:pt x="323" y="45"/>
                  </a:lnTo>
                  <a:lnTo>
                    <a:pt x="301" y="70"/>
                  </a:lnTo>
                  <a:lnTo>
                    <a:pt x="329" y="91"/>
                  </a:lnTo>
                  <a:lnTo>
                    <a:pt x="310" y="87"/>
                  </a:lnTo>
                  <a:lnTo>
                    <a:pt x="272" y="111"/>
                  </a:lnTo>
                  <a:lnTo>
                    <a:pt x="240" y="104"/>
                  </a:lnTo>
                  <a:lnTo>
                    <a:pt x="253" y="130"/>
                  </a:lnTo>
                  <a:lnTo>
                    <a:pt x="229" y="159"/>
                  </a:lnTo>
                  <a:lnTo>
                    <a:pt x="208" y="162"/>
                  </a:lnTo>
                  <a:lnTo>
                    <a:pt x="208" y="164"/>
                  </a:lnTo>
                  <a:lnTo>
                    <a:pt x="212" y="176"/>
                  </a:lnTo>
                  <a:lnTo>
                    <a:pt x="161" y="183"/>
                  </a:lnTo>
                  <a:lnTo>
                    <a:pt x="144" y="198"/>
                  </a:lnTo>
                  <a:lnTo>
                    <a:pt x="159" y="208"/>
                  </a:lnTo>
                  <a:lnTo>
                    <a:pt x="121" y="225"/>
                  </a:lnTo>
                  <a:lnTo>
                    <a:pt x="104" y="206"/>
                  </a:lnTo>
                  <a:lnTo>
                    <a:pt x="51" y="217"/>
                  </a:lnTo>
                  <a:lnTo>
                    <a:pt x="38" y="217"/>
                  </a:lnTo>
                  <a:lnTo>
                    <a:pt x="36" y="172"/>
                  </a:lnTo>
                  <a:lnTo>
                    <a:pt x="2" y="159"/>
                  </a:lnTo>
                  <a:lnTo>
                    <a:pt x="29" y="123"/>
                  </a:lnTo>
                  <a:lnTo>
                    <a:pt x="0" y="115"/>
                  </a:lnTo>
                  <a:lnTo>
                    <a:pt x="0" y="10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4" name="Freeform 77">
              <a:extLst>
                <a:ext uri="{FF2B5EF4-FFF2-40B4-BE49-F238E27FC236}">
                  <a16:creationId xmlns:a16="http://schemas.microsoft.com/office/drawing/2014/main" id="{372A1DFA-96D1-4B81-B045-70AA6D63CD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949" y="4069013"/>
              <a:ext cx="495948" cy="535869"/>
            </a:xfrm>
            <a:custGeom>
              <a:avLst/>
              <a:gdLst>
                <a:gd name="T0" fmla="*/ 6 w 323"/>
                <a:gd name="T1" fmla="*/ 243 h 349"/>
                <a:gd name="T2" fmla="*/ 23 w 323"/>
                <a:gd name="T3" fmla="*/ 213 h 349"/>
                <a:gd name="T4" fmla="*/ 40 w 323"/>
                <a:gd name="T5" fmla="*/ 217 h 349"/>
                <a:gd name="T6" fmla="*/ 49 w 323"/>
                <a:gd name="T7" fmla="*/ 168 h 349"/>
                <a:gd name="T8" fmla="*/ 83 w 323"/>
                <a:gd name="T9" fmla="*/ 153 h 349"/>
                <a:gd name="T10" fmla="*/ 51 w 323"/>
                <a:gd name="T11" fmla="*/ 124 h 349"/>
                <a:gd name="T12" fmla="*/ 55 w 323"/>
                <a:gd name="T13" fmla="*/ 96 h 349"/>
                <a:gd name="T14" fmla="*/ 53 w 323"/>
                <a:gd name="T15" fmla="*/ 60 h 349"/>
                <a:gd name="T16" fmla="*/ 147 w 323"/>
                <a:gd name="T17" fmla="*/ 5 h 349"/>
                <a:gd name="T18" fmla="*/ 191 w 323"/>
                <a:gd name="T19" fmla="*/ 0 h 349"/>
                <a:gd name="T20" fmla="*/ 208 w 323"/>
                <a:gd name="T21" fmla="*/ 20 h 349"/>
                <a:gd name="T22" fmla="*/ 211 w 323"/>
                <a:gd name="T23" fmla="*/ 49 h 349"/>
                <a:gd name="T24" fmla="*/ 196 w 323"/>
                <a:gd name="T25" fmla="*/ 68 h 349"/>
                <a:gd name="T26" fmla="*/ 198 w 323"/>
                <a:gd name="T27" fmla="*/ 75 h 349"/>
                <a:gd name="T28" fmla="*/ 223 w 323"/>
                <a:gd name="T29" fmla="*/ 96 h 349"/>
                <a:gd name="T30" fmla="*/ 242 w 323"/>
                <a:gd name="T31" fmla="*/ 153 h 349"/>
                <a:gd name="T32" fmla="*/ 223 w 323"/>
                <a:gd name="T33" fmla="*/ 170 h 349"/>
                <a:gd name="T34" fmla="*/ 257 w 323"/>
                <a:gd name="T35" fmla="*/ 177 h 349"/>
                <a:gd name="T36" fmla="*/ 253 w 323"/>
                <a:gd name="T37" fmla="*/ 204 h 349"/>
                <a:gd name="T38" fmla="*/ 291 w 323"/>
                <a:gd name="T39" fmla="*/ 198 h 349"/>
                <a:gd name="T40" fmla="*/ 319 w 323"/>
                <a:gd name="T41" fmla="*/ 226 h 349"/>
                <a:gd name="T42" fmla="*/ 323 w 323"/>
                <a:gd name="T43" fmla="*/ 260 h 349"/>
                <a:gd name="T44" fmla="*/ 157 w 323"/>
                <a:gd name="T45" fmla="*/ 349 h 349"/>
                <a:gd name="T46" fmla="*/ 121 w 323"/>
                <a:gd name="T47" fmla="*/ 334 h 349"/>
                <a:gd name="T48" fmla="*/ 136 w 323"/>
                <a:gd name="T49" fmla="*/ 319 h 349"/>
                <a:gd name="T50" fmla="*/ 115 w 323"/>
                <a:gd name="T51" fmla="*/ 315 h 349"/>
                <a:gd name="T52" fmla="*/ 100 w 323"/>
                <a:gd name="T53" fmla="*/ 287 h 349"/>
                <a:gd name="T54" fmla="*/ 60 w 323"/>
                <a:gd name="T55" fmla="*/ 283 h 349"/>
                <a:gd name="T56" fmla="*/ 45 w 323"/>
                <a:gd name="T57" fmla="*/ 298 h 349"/>
                <a:gd name="T58" fmla="*/ 28 w 323"/>
                <a:gd name="T59" fmla="*/ 258 h 349"/>
                <a:gd name="T60" fmla="*/ 0 w 323"/>
                <a:gd name="T61" fmla="*/ 247 h 349"/>
                <a:gd name="T62" fmla="*/ 6 w 323"/>
                <a:gd name="T63" fmla="*/ 243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3" h="349">
                  <a:moveTo>
                    <a:pt x="6" y="243"/>
                  </a:moveTo>
                  <a:lnTo>
                    <a:pt x="23" y="213"/>
                  </a:lnTo>
                  <a:lnTo>
                    <a:pt x="40" y="217"/>
                  </a:lnTo>
                  <a:lnTo>
                    <a:pt x="49" y="168"/>
                  </a:lnTo>
                  <a:lnTo>
                    <a:pt x="83" y="153"/>
                  </a:lnTo>
                  <a:lnTo>
                    <a:pt x="51" y="124"/>
                  </a:lnTo>
                  <a:lnTo>
                    <a:pt x="55" y="96"/>
                  </a:lnTo>
                  <a:lnTo>
                    <a:pt x="53" y="60"/>
                  </a:lnTo>
                  <a:lnTo>
                    <a:pt x="147" y="5"/>
                  </a:lnTo>
                  <a:lnTo>
                    <a:pt x="191" y="0"/>
                  </a:lnTo>
                  <a:lnTo>
                    <a:pt x="208" y="20"/>
                  </a:lnTo>
                  <a:lnTo>
                    <a:pt x="211" y="49"/>
                  </a:lnTo>
                  <a:lnTo>
                    <a:pt x="196" y="68"/>
                  </a:lnTo>
                  <a:lnTo>
                    <a:pt x="198" y="75"/>
                  </a:lnTo>
                  <a:lnTo>
                    <a:pt x="223" y="96"/>
                  </a:lnTo>
                  <a:lnTo>
                    <a:pt x="242" y="153"/>
                  </a:lnTo>
                  <a:lnTo>
                    <a:pt x="223" y="170"/>
                  </a:lnTo>
                  <a:lnTo>
                    <a:pt x="257" y="177"/>
                  </a:lnTo>
                  <a:lnTo>
                    <a:pt x="253" y="204"/>
                  </a:lnTo>
                  <a:lnTo>
                    <a:pt x="291" y="198"/>
                  </a:lnTo>
                  <a:lnTo>
                    <a:pt x="319" y="226"/>
                  </a:lnTo>
                  <a:lnTo>
                    <a:pt x="323" y="260"/>
                  </a:lnTo>
                  <a:lnTo>
                    <a:pt x="157" y="349"/>
                  </a:lnTo>
                  <a:lnTo>
                    <a:pt x="121" y="334"/>
                  </a:lnTo>
                  <a:lnTo>
                    <a:pt x="136" y="319"/>
                  </a:lnTo>
                  <a:lnTo>
                    <a:pt x="115" y="315"/>
                  </a:lnTo>
                  <a:lnTo>
                    <a:pt x="100" y="287"/>
                  </a:lnTo>
                  <a:lnTo>
                    <a:pt x="60" y="283"/>
                  </a:lnTo>
                  <a:lnTo>
                    <a:pt x="45" y="298"/>
                  </a:lnTo>
                  <a:lnTo>
                    <a:pt x="28" y="258"/>
                  </a:lnTo>
                  <a:lnTo>
                    <a:pt x="0" y="247"/>
                  </a:lnTo>
                  <a:lnTo>
                    <a:pt x="6" y="24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5" name="Freeform 78">
              <a:extLst>
                <a:ext uri="{FF2B5EF4-FFF2-40B4-BE49-F238E27FC236}">
                  <a16:creationId xmlns:a16="http://schemas.microsoft.com/office/drawing/2014/main" id="{CD1AF834-8739-4C14-B58B-41F86F113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2730" y="2865227"/>
              <a:ext cx="675594" cy="394609"/>
            </a:xfrm>
            <a:custGeom>
              <a:avLst/>
              <a:gdLst>
                <a:gd name="T0" fmla="*/ 0 w 440"/>
                <a:gd name="T1" fmla="*/ 62 h 257"/>
                <a:gd name="T2" fmla="*/ 78 w 440"/>
                <a:gd name="T3" fmla="*/ 119 h 257"/>
                <a:gd name="T4" fmla="*/ 61 w 440"/>
                <a:gd name="T5" fmla="*/ 170 h 257"/>
                <a:gd name="T6" fmla="*/ 125 w 440"/>
                <a:gd name="T7" fmla="*/ 225 h 257"/>
                <a:gd name="T8" fmla="*/ 182 w 440"/>
                <a:gd name="T9" fmla="*/ 187 h 257"/>
                <a:gd name="T10" fmla="*/ 204 w 440"/>
                <a:gd name="T11" fmla="*/ 221 h 257"/>
                <a:gd name="T12" fmla="*/ 253 w 440"/>
                <a:gd name="T13" fmla="*/ 215 h 257"/>
                <a:gd name="T14" fmla="*/ 253 w 440"/>
                <a:gd name="T15" fmla="*/ 215 h 257"/>
                <a:gd name="T16" fmla="*/ 270 w 440"/>
                <a:gd name="T17" fmla="*/ 234 h 257"/>
                <a:gd name="T18" fmla="*/ 299 w 440"/>
                <a:gd name="T19" fmla="*/ 213 h 257"/>
                <a:gd name="T20" fmla="*/ 355 w 440"/>
                <a:gd name="T21" fmla="*/ 257 h 257"/>
                <a:gd name="T22" fmla="*/ 361 w 440"/>
                <a:gd name="T23" fmla="*/ 255 h 257"/>
                <a:gd name="T24" fmla="*/ 378 w 440"/>
                <a:gd name="T25" fmla="*/ 244 h 257"/>
                <a:gd name="T26" fmla="*/ 382 w 440"/>
                <a:gd name="T27" fmla="*/ 193 h 257"/>
                <a:gd name="T28" fmla="*/ 440 w 440"/>
                <a:gd name="T29" fmla="*/ 72 h 257"/>
                <a:gd name="T30" fmla="*/ 410 w 440"/>
                <a:gd name="T31" fmla="*/ 59 h 257"/>
                <a:gd name="T32" fmla="*/ 416 w 440"/>
                <a:gd name="T33" fmla="*/ 0 h 257"/>
                <a:gd name="T34" fmla="*/ 335 w 440"/>
                <a:gd name="T35" fmla="*/ 49 h 257"/>
                <a:gd name="T36" fmla="*/ 299 w 440"/>
                <a:gd name="T37" fmla="*/ 21 h 257"/>
                <a:gd name="T38" fmla="*/ 287 w 440"/>
                <a:gd name="T39" fmla="*/ 40 h 257"/>
                <a:gd name="T40" fmla="*/ 246 w 440"/>
                <a:gd name="T41" fmla="*/ 51 h 257"/>
                <a:gd name="T42" fmla="*/ 219 w 440"/>
                <a:gd name="T43" fmla="*/ 36 h 257"/>
                <a:gd name="T44" fmla="*/ 182 w 440"/>
                <a:gd name="T45" fmla="*/ 49 h 257"/>
                <a:gd name="T46" fmla="*/ 174 w 440"/>
                <a:gd name="T47" fmla="*/ 68 h 257"/>
                <a:gd name="T48" fmla="*/ 167 w 440"/>
                <a:gd name="T49" fmla="*/ 57 h 257"/>
                <a:gd name="T50" fmla="*/ 138 w 440"/>
                <a:gd name="T51" fmla="*/ 70 h 257"/>
                <a:gd name="T52" fmla="*/ 129 w 440"/>
                <a:gd name="T53" fmla="*/ 40 h 257"/>
                <a:gd name="T54" fmla="*/ 112 w 440"/>
                <a:gd name="T55" fmla="*/ 49 h 257"/>
                <a:gd name="T56" fmla="*/ 121 w 440"/>
                <a:gd name="T57" fmla="*/ 17 h 257"/>
                <a:gd name="T58" fmla="*/ 87 w 440"/>
                <a:gd name="T59" fmla="*/ 19 h 257"/>
                <a:gd name="T60" fmla="*/ 17 w 440"/>
                <a:gd name="T61" fmla="*/ 47 h 257"/>
                <a:gd name="T62" fmla="*/ 0 w 440"/>
                <a:gd name="T63" fmla="*/ 59 h 257"/>
                <a:gd name="T64" fmla="*/ 0 w 440"/>
                <a:gd name="T65" fmla="*/ 62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0" h="257">
                  <a:moveTo>
                    <a:pt x="0" y="62"/>
                  </a:moveTo>
                  <a:lnTo>
                    <a:pt x="78" y="119"/>
                  </a:lnTo>
                  <a:lnTo>
                    <a:pt x="61" y="170"/>
                  </a:lnTo>
                  <a:lnTo>
                    <a:pt x="125" y="225"/>
                  </a:lnTo>
                  <a:lnTo>
                    <a:pt x="182" y="187"/>
                  </a:lnTo>
                  <a:lnTo>
                    <a:pt x="204" y="221"/>
                  </a:lnTo>
                  <a:lnTo>
                    <a:pt x="253" y="215"/>
                  </a:lnTo>
                  <a:lnTo>
                    <a:pt x="253" y="215"/>
                  </a:lnTo>
                  <a:lnTo>
                    <a:pt x="270" y="234"/>
                  </a:lnTo>
                  <a:lnTo>
                    <a:pt x="299" y="213"/>
                  </a:lnTo>
                  <a:lnTo>
                    <a:pt x="355" y="257"/>
                  </a:lnTo>
                  <a:lnTo>
                    <a:pt x="361" y="255"/>
                  </a:lnTo>
                  <a:lnTo>
                    <a:pt x="378" y="244"/>
                  </a:lnTo>
                  <a:lnTo>
                    <a:pt x="382" y="193"/>
                  </a:lnTo>
                  <a:lnTo>
                    <a:pt x="440" y="72"/>
                  </a:lnTo>
                  <a:lnTo>
                    <a:pt x="410" y="59"/>
                  </a:lnTo>
                  <a:lnTo>
                    <a:pt x="416" y="0"/>
                  </a:lnTo>
                  <a:lnTo>
                    <a:pt x="335" y="49"/>
                  </a:lnTo>
                  <a:lnTo>
                    <a:pt x="299" y="21"/>
                  </a:lnTo>
                  <a:lnTo>
                    <a:pt x="287" y="40"/>
                  </a:lnTo>
                  <a:lnTo>
                    <a:pt x="246" y="51"/>
                  </a:lnTo>
                  <a:lnTo>
                    <a:pt x="219" y="36"/>
                  </a:lnTo>
                  <a:lnTo>
                    <a:pt x="182" y="49"/>
                  </a:lnTo>
                  <a:lnTo>
                    <a:pt x="174" y="68"/>
                  </a:lnTo>
                  <a:lnTo>
                    <a:pt x="167" y="57"/>
                  </a:lnTo>
                  <a:lnTo>
                    <a:pt x="138" y="70"/>
                  </a:lnTo>
                  <a:lnTo>
                    <a:pt x="129" y="40"/>
                  </a:lnTo>
                  <a:lnTo>
                    <a:pt x="112" y="49"/>
                  </a:lnTo>
                  <a:lnTo>
                    <a:pt x="121" y="17"/>
                  </a:lnTo>
                  <a:lnTo>
                    <a:pt x="87" y="19"/>
                  </a:lnTo>
                  <a:lnTo>
                    <a:pt x="17" y="47"/>
                  </a:lnTo>
                  <a:lnTo>
                    <a:pt x="0" y="59"/>
                  </a:lnTo>
                  <a:lnTo>
                    <a:pt x="0" y="62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6" name="Freeform 79">
              <a:extLst>
                <a:ext uri="{FF2B5EF4-FFF2-40B4-BE49-F238E27FC236}">
                  <a16:creationId xmlns:a16="http://schemas.microsoft.com/office/drawing/2014/main" id="{A0EBAE1D-14E1-47D1-9DD4-60C19E776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3747" y="2743927"/>
              <a:ext cx="247206" cy="274844"/>
            </a:xfrm>
            <a:custGeom>
              <a:avLst/>
              <a:gdLst>
                <a:gd name="T0" fmla="*/ 2 w 161"/>
                <a:gd name="T1" fmla="*/ 115 h 179"/>
                <a:gd name="T2" fmla="*/ 17 w 161"/>
                <a:gd name="T3" fmla="*/ 179 h 179"/>
                <a:gd name="T4" fmla="*/ 70 w 161"/>
                <a:gd name="T5" fmla="*/ 160 h 179"/>
                <a:gd name="T6" fmla="*/ 78 w 161"/>
                <a:gd name="T7" fmla="*/ 175 h 179"/>
                <a:gd name="T8" fmla="*/ 116 w 161"/>
                <a:gd name="T9" fmla="*/ 168 h 179"/>
                <a:gd name="T10" fmla="*/ 116 w 161"/>
                <a:gd name="T11" fmla="*/ 162 h 179"/>
                <a:gd name="T12" fmla="*/ 150 w 161"/>
                <a:gd name="T13" fmla="*/ 136 h 179"/>
                <a:gd name="T14" fmla="*/ 142 w 161"/>
                <a:gd name="T15" fmla="*/ 96 h 179"/>
                <a:gd name="T16" fmla="*/ 161 w 161"/>
                <a:gd name="T17" fmla="*/ 32 h 179"/>
                <a:gd name="T18" fmla="*/ 99 w 161"/>
                <a:gd name="T19" fmla="*/ 11 h 179"/>
                <a:gd name="T20" fmla="*/ 76 w 161"/>
                <a:gd name="T21" fmla="*/ 0 h 179"/>
                <a:gd name="T22" fmla="*/ 23 w 161"/>
                <a:gd name="T23" fmla="*/ 43 h 179"/>
                <a:gd name="T24" fmla="*/ 36 w 161"/>
                <a:gd name="T25" fmla="*/ 58 h 179"/>
                <a:gd name="T26" fmla="*/ 25 w 161"/>
                <a:gd name="T27" fmla="*/ 79 h 179"/>
                <a:gd name="T28" fmla="*/ 6 w 161"/>
                <a:gd name="T29" fmla="*/ 77 h 179"/>
                <a:gd name="T30" fmla="*/ 17 w 161"/>
                <a:gd name="T31" fmla="*/ 87 h 179"/>
                <a:gd name="T32" fmla="*/ 0 w 161"/>
                <a:gd name="T33" fmla="*/ 111 h 179"/>
                <a:gd name="T34" fmla="*/ 2 w 161"/>
                <a:gd name="T35" fmla="*/ 11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79">
                  <a:moveTo>
                    <a:pt x="2" y="115"/>
                  </a:moveTo>
                  <a:lnTo>
                    <a:pt x="17" y="179"/>
                  </a:lnTo>
                  <a:lnTo>
                    <a:pt x="70" y="160"/>
                  </a:lnTo>
                  <a:lnTo>
                    <a:pt x="78" y="175"/>
                  </a:lnTo>
                  <a:lnTo>
                    <a:pt x="116" y="168"/>
                  </a:lnTo>
                  <a:lnTo>
                    <a:pt x="116" y="162"/>
                  </a:lnTo>
                  <a:lnTo>
                    <a:pt x="150" y="136"/>
                  </a:lnTo>
                  <a:lnTo>
                    <a:pt x="142" y="96"/>
                  </a:lnTo>
                  <a:lnTo>
                    <a:pt x="161" y="32"/>
                  </a:lnTo>
                  <a:lnTo>
                    <a:pt x="99" y="11"/>
                  </a:lnTo>
                  <a:lnTo>
                    <a:pt x="76" y="0"/>
                  </a:lnTo>
                  <a:lnTo>
                    <a:pt x="23" y="43"/>
                  </a:lnTo>
                  <a:lnTo>
                    <a:pt x="36" y="58"/>
                  </a:lnTo>
                  <a:lnTo>
                    <a:pt x="25" y="79"/>
                  </a:lnTo>
                  <a:lnTo>
                    <a:pt x="6" y="77"/>
                  </a:lnTo>
                  <a:lnTo>
                    <a:pt x="17" y="87"/>
                  </a:lnTo>
                  <a:lnTo>
                    <a:pt x="0" y="111"/>
                  </a:lnTo>
                  <a:lnTo>
                    <a:pt x="2" y="115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7" name="Freeform 80">
              <a:extLst>
                <a:ext uri="{FF2B5EF4-FFF2-40B4-BE49-F238E27FC236}">
                  <a16:creationId xmlns:a16="http://schemas.microsoft.com/office/drawing/2014/main" id="{EC08C440-5D41-4A9A-B8C1-C24BCD7C2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6543" y="2613415"/>
              <a:ext cx="110552" cy="115159"/>
            </a:xfrm>
            <a:custGeom>
              <a:avLst/>
              <a:gdLst>
                <a:gd name="T0" fmla="*/ 0 w 72"/>
                <a:gd name="T1" fmla="*/ 21 h 75"/>
                <a:gd name="T2" fmla="*/ 0 w 72"/>
                <a:gd name="T3" fmla="*/ 21 h 75"/>
                <a:gd name="T4" fmla="*/ 6 w 72"/>
                <a:gd name="T5" fmla="*/ 41 h 75"/>
                <a:gd name="T6" fmla="*/ 30 w 72"/>
                <a:gd name="T7" fmla="*/ 60 h 75"/>
                <a:gd name="T8" fmla="*/ 72 w 72"/>
                <a:gd name="T9" fmla="*/ 75 h 75"/>
                <a:gd name="T10" fmla="*/ 64 w 72"/>
                <a:gd name="T11" fmla="*/ 0 h 75"/>
                <a:gd name="T12" fmla="*/ 40 w 72"/>
                <a:gd name="T13" fmla="*/ 19 h 75"/>
                <a:gd name="T14" fmla="*/ 0 w 72"/>
                <a:gd name="T15" fmla="*/ 19 h 75"/>
                <a:gd name="T16" fmla="*/ 0 w 72"/>
                <a:gd name="T17" fmla="*/ 2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5">
                  <a:moveTo>
                    <a:pt x="0" y="21"/>
                  </a:moveTo>
                  <a:lnTo>
                    <a:pt x="0" y="21"/>
                  </a:lnTo>
                  <a:lnTo>
                    <a:pt x="6" y="41"/>
                  </a:lnTo>
                  <a:lnTo>
                    <a:pt x="30" y="60"/>
                  </a:lnTo>
                  <a:lnTo>
                    <a:pt x="72" y="75"/>
                  </a:lnTo>
                  <a:lnTo>
                    <a:pt x="64" y="0"/>
                  </a:lnTo>
                  <a:lnTo>
                    <a:pt x="40" y="19"/>
                  </a:lnTo>
                  <a:lnTo>
                    <a:pt x="0" y="19"/>
                  </a:lnTo>
                  <a:lnTo>
                    <a:pt x="0" y="21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8" name="Freeform 81">
              <a:extLst>
                <a:ext uri="{FF2B5EF4-FFF2-40B4-BE49-F238E27FC236}">
                  <a16:creationId xmlns:a16="http://schemas.microsoft.com/office/drawing/2014/main" id="{E7039037-F81E-451F-82F2-56CBC7CA7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2685" y="2705541"/>
              <a:ext cx="104410" cy="87521"/>
            </a:xfrm>
            <a:custGeom>
              <a:avLst/>
              <a:gdLst>
                <a:gd name="T0" fmla="*/ 2 w 68"/>
                <a:gd name="T1" fmla="*/ 30 h 57"/>
                <a:gd name="T2" fmla="*/ 5 w 68"/>
                <a:gd name="T3" fmla="*/ 10 h 57"/>
                <a:gd name="T4" fmla="*/ 36 w 68"/>
                <a:gd name="T5" fmla="*/ 10 h 57"/>
                <a:gd name="T6" fmla="*/ 26 w 68"/>
                <a:gd name="T7" fmla="*/ 0 h 57"/>
                <a:gd name="T8" fmla="*/ 68 w 68"/>
                <a:gd name="T9" fmla="*/ 15 h 57"/>
                <a:gd name="T10" fmla="*/ 64 w 68"/>
                <a:gd name="T11" fmla="*/ 57 h 57"/>
                <a:gd name="T12" fmla="*/ 2 w 68"/>
                <a:gd name="T13" fmla="*/ 36 h 57"/>
                <a:gd name="T14" fmla="*/ 0 w 68"/>
                <a:gd name="T15" fmla="*/ 34 h 57"/>
                <a:gd name="T16" fmla="*/ 2 w 68"/>
                <a:gd name="T17" fmla="*/ 3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57">
                  <a:moveTo>
                    <a:pt x="2" y="30"/>
                  </a:moveTo>
                  <a:lnTo>
                    <a:pt x="5" y="10"/>
                  </a:lnTo>
                  <a:lnTo>
                    <a:pt x="36" y="10"/>
                  </a:lnTo>
                  <a:lnTo>
                    <a:pt x="26" y="0"/>
                  </a:lnTo>
                  <a:lnTo>
                    <a:pt x="68" y="15"/>
                  </a:lnTo>
                  <a:lnTo>
                    <a:pt x="64" y="57"/>
                  </a:lnTo>
                  <a:lnTo>
                    <a:pt x="2" y="36"/>
                  </a:lnTo>
                  <a:lnTo>
                    <a:pt x="0" y="34"/>
                  </a:lnTo>
                  <a:lnTo>
                    <a:pt x="2" y="3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9" name="Freeform 82">
              <a:extLst>
                <a:ext uri="{FF2B5EF4-FFF2-40B4-BE49-F238E27FC236}">
                  <a16:creationId xmlns:a16="http://schemas.microsoft.com/office/drawing/2014/main" id="{11736917-4193-423C-B873-0AE1E90E6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0441" y="2676368"/>
              <a:ext cx="87521" cy="44528"/>
            </a:xfrm>
            <a:custGeom>
              <a:avLst/>
              <a:gdLst>
                <a:gd name="T0" fmla="*/ 2 w 57"/>
                <a:gd name="T1" fmla="*/ 17 h 29"/>
                <a:gd name="T2" fmla="*/ 26 w 57"/>
                <a:gd name="T3" fmla="*/ 29 h 29"/>
                <a:gd name="T4" fmla="*/ 57 w 57"/>
                <a:gd name="T5" fmla="*/ 29 h 29"/>
                <a:gd name="T6" fmla="*/ 47 w 57"/>
                <a:gd name="T7" fmla="*/ 19 h 29"/>
                <a:gd name="T8" fmla="*/ 23 w 57"/>
                <a:gd name="T9" fmla="*/ 0 h 29"/>
                <a:gd name="T10" fmla="*/ 0 w 57"/>
                <a:gd name="T11" fmla="*/ 14 h 29"/>
                <a:gd name="T12" fmla="*/ 2 w 57"/>
                <a:gd name="T13" fmla="*/ 1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29">
                  <a:moveTo>
                    <a:pt x="2" y="17"/>
                  </a:moveTo>
                  <a:lnTo>
                    <a:pt x="26" y="29"/>
                  </a:lnTo>
                  <a:lnTo>
                    <a:pt x="57" y="29"/>
                  </a:lnTo>
                  <a:lnTo>
                    <a:pt x="47" y="19"/>
                  </a:lnTo>
                  <a:lnTo>
                    <a:pt x="23" y="0"/>
                  </a:lnTo>
                  <a:lnTo>
                    <a:pt x="0" y="14"/>
                  </a:lnTo>
                  <a:lnTo>
                    <a:pt x="2" y="17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0" name="Freeform 83">
              <a:extLst>
                <a:ext uri="{FF2B5EF4-FFF2-40B4-BE49-F238E27FC236}">
                  <a16:creationId xmlns:a16="http://schemas.microsoft.com/office/drawing/2014/main" id="{29124F2D-AC9C-486B-83E5-B6479E905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0090" y="4007595"/>
              <a:ext cx="551224" cy="502090"/>
            </a:xfrm>
            <a:custGeom>
              <a:avLst/>
              <a:gdLst>
                <a:gd name="T0" fmla="*/ 0 w 359"/>
                <a:gd name="T1" fmla="*/ 215 h 327"/>
                <a:gd name="T2" fmla="*/ 36 w 359"/>
                <a:gd name="T3" fmla="*/ 227 h 327"/>
                <a:gd name="T4" fmla="*/ 47 w 359"/>
                <a:gd name="T5" fmla="*/ 262 h 327"/>
                <a:gd name="T6" fmla="*/ 94 w 359"/>
                <a:gd name="T7" fmla="*/ 259 h 327"/>
                <a:gd name="T8" fmla="*/ 130 w 359"/>
                <a:gd name="T9" fmla="*/ 272 h 327"/>
                <a:gd name="T10" fmla="*/ 159 w 359"/>
                <a:gd name="T11" fmla="*/ 232 h 327"/>
                <a:gd name="T12" fmla="*/ 230 w 359"/>
                <a:gd name="T13" fmla="*/ 327 h 327"/>
                <a:gd name="T14" fmla="*/ 266 w 359"/>
                <a:gd name="T15" fmla="*/ 289 h 327"/>
                <a:gd name="T16" fmla="*/ 278 w 359"/>
                <a:gd name="T17" fmla="*/ 208 h 327"/>
                <a:gd name="T18" fmla="*/ 272 w 359"/>
                <a:gd name="T19" fmla="*/ 174 h 327"/>
                <a:gd name="T20" fmla="*/ 270 w 359"/>
                <a:gd name="T21" fmla="*/ 170 h 327"/>
                <a:gd name="T22" fmla="*/ 274 w 359"/>
                <a:gd name="T23" fmla="*/ 149 h 327"/>
                <a:gd name="T24" fmla="*/ 308 w 359"/>
                <a:gd name="T25" fmla="*/ 136 h 327"/>
                <a:gd name="T26" fmla="*/ 310 w 359"/>
                <a:gd name="T27" fmla="*/ 106 h 327"/>
                <a:gd name="T28" fmla="*/ 349 w 359"/>
                <a:gd name="T29" fmla="*/ 91 h 327"/>
                <a:gd name="T30" fmla="*/ 359 w 359"/>
                <a:gd name="T31" fmla="*/ 47 h 327"/>
                <a:gd name="T32" fmla="*/ 332 w 359"/>
                <a:gd name="T33" fmla="*/ 32 h 327"/>
                <a:gd name="T34" fmla="*/ 285 w 359"/>
                <a:gd name="T35" fmla="*/ 89 h 327"/>
                <a:gd name="T36" fmla="*/ 249 w 359"/>
                <a:gd name="T37" fmla="*/ 91 h 327"/>
                <a:gd name="T38" fmla="*/ 227 w 359"/>
                <a:gd name="T39" fmla="*/ 64 h 327"/>
                <a:gd name="T40" fmla="*/ 193 w 359"/>
                <a:gd name="T41" fmla="*/ 91 h 327"/>
                <a:gd name="T42" fmla="*/ 172 w 359"/>
                <a:gd name="T43" fmla="*/ 62 h 327"/>
                <a:gd name="T44" fmla="*/ 166 w 359"/>
                <a:gd name="T45" fmla="*/ 74 h 327"/>
                <a:gd name="T46" fmla="*/ 142 w 359"/>
                <a:gd name="T47" fmla="*/ 26 h 327"/>
                <a:gd name="T48" fmla="*/ 106 w 359"/>
                <a:gd name="T49" fmla="*/ 0 h 327"/>
                <a:gd name="T50" fmla="*/ 77 w 359"/>
                <a:gd name="T51" fmla="*/ 15 h 327"/>
                <a:gd name="T52" fmla="*/ 47 w 359"/>
                <a:gd name="T53" fmla="*/ 4 h 327"/>
                <a:gd name="T54" fmla="*/ 9 w 359"/>
                <a:gd name="T55" fmla="*/ 128 h 327"/>
                <a:gd name="T56" fmla="*/ 0 w 359"/>
                <a:gd name="T57" fmla="*/ 215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9" h="327">
                  <a:moveTo>
                    <a:pt x="0" y="215"/>
                  </a:moveTo>
                  <a:lnTo>
                    <a:pt x="36" y="227"/>
                  </a:lnTo>
                  <a:lnTo>
                    <a:pt x="47" y="262"/>
                  </a:lnTo>
                  <a:lnTo>
                    <a:pt x="94" y="259"/>
                  </a:lnTo>
                  <a:lnTo>
                    <a:pt x="130" y="272"/>
                  </a:lnTo>
                  <a:lnTo>
                    <a:pt x="159" y="232"/>
                  </a:lnTo>
                  <a:lnTo>
                    <a:pt x="230" y="327"/>
                  </a:lnTo>
                  <a:lnTo>
                    <a:pt x="266" y="289"/>
                  </a:lnTo>
                  <a:lnTo>
                    <a:pt x="278" y="208"/>
                  </a:lnTo>
                  <a:lnTo>
                    <a:pt x="272" y="174"/>
                  </a:lnTo>
                  <a:lnTo>
                    <a:pt x="270" y="170"/>
                  </a:lnTo>
                  <a:lnTo>
                    <a:pt x="274" y="149"/>
                  </a:lnTo>
                  <a:lnTo>
                    <a:pt x="308" y="136"/>
                  </a:lnTo>
                  <a:lnTo>
                    <a:pt x="310" y="106"/>
                  </a:lnTo>
                  <a:lnTo>
                    <a:pt x="349" y="91"/>
                  </a:lnTo>
                  <a:lnTo>
                    <a:pt x="359" y="47"/>
                  </a:lnTo>
                  <a:lnTo>
                    <a:pt x="332" y="32"/>
                  </a:lnTo>
                  <a:lnTo>
                    <a:pt x="285" y="89"/>
                  </a:lnTo>
                  <a:lnTo>
                    <a:pt x="249" y="91"/>
                  </a:lnTo>
                  <a:lnTo>
                    <a:pt x="227" y="64"/>
                  </a:lnTo>
                  <a:lnTo>
                    <a:pt x="193" y="91"/>
                  </a:lnTo>
                  <a:lnTo>
                    <a:pt x="172" y="62"/>
                  </a:lnTo>
                  <a:lnTo>
                    <a:pt x="166" y="74"/>
                  </a:lnTo>
                  <a:lnTo>
                    <a:pt x="142" y="26"/>
                  </a:lnTo>
                  <a:lnTo>
                    <a:pt x="106" y="0"/>
                  </a:lnTo>
                  <a:lnTo>
                    <a:pt x="77" y="15"/>
                  </a:lnTo>
                  <a:lnTo>
                    <a:pt x="47" y="4"/>
                  </a:lnTo>
                  <a:lnTo>
                    <a:pt x="9" y="128"/>
                  </a:lnTo>
                  <a:lnTo>
                    <a:pt x="0" y="21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1" name="Freeform 84">
              <a:extLst>
                <a:ext uri="{FF2B5EF4-FFF2-40B4-BE49-F238E27FC236}">
                  <a16:creationId xmlns:a16="http://schemas.microsoft.com/office/drawing/2014/main" id="{CFA4557F-DD09-4549-8D3A-3BE803ACC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759" y="4660157"/>
              <a:ext cx="408427" cy="620318"/>
            </a:xfrm>
            <a:custGeom>
              <a:avLst/>
              <a:gdLst>
                <a:gd name="T0" fmla="*/ 2 w 266"/>
                <a:gd name="T1" fmla="*/ 247 h 404"/>
                <a:gd name="T2" fmla="*/ 38 w 266"/>
                <a:gd name="T3" fmla="*/ 332 h 404"/>
                <a:gd name="T4" fmla="*/ 57 w 266"/>
                <a:gd name="T5" fmla="*/ 353 h 404"/>
                <a:gd name="T6" fmla="*/ 53 w 266"/>
                <a:gd name="T7" fmla="*/ 385 h 404"/>
                <a:gd name="T8" fmla="*/ 72 w 266"/>
                <a:gd name="T9" fmla="*/ 379 h 404"/>
                <a:gd name="T10" fmla="*/ 108 w 266"/>
                <a:gd name="T11" fmla="*/ 404 h 404"/>
                <a:gd name="T12" fmla="*/ 125 w 266"/>
                <a:gd name="T13" fmla="*/ 377 h 404"/>
                <a:gd name="T14" fmla="*/ 140 w 266"/>
                <a:gd name="T15" fmla="*/ 372 h 404"/>
                <a:gd name="T16" fmla="*/ 155 w 266"/>
                <a:gd name="T17" fmla="*/ 396 h 404"/>
                <a:gd name="T18" fmla="*/ 170 w 266"/>
                <a:gd name="T19" fmla="*/ 374 h 404"/>
                <a:gd name="T20" fmla="*/ 208 w 266"/>
                <a:gd name="T21" fmla="*/ 398 h 404"/>
                <a:gd name="T22" fmla="*/ 210 w 266"/>
                <a:gd name="T23" fmla="*/ 396 h 404"/>
                <a:gd name="T24" fmla="*/ 210 w 266"/>
                <a:gd name="T25" fmla="*/ 379 h 404"/>
                <a:gd name="T26" fmla="*/ 208 w 266"/>
                <a:gd name="T27" fmla="*/ 377 h 404"/>
                <a:gd name="T28" fmla="*/ 208 w 266"/>
                <a:gd name="T29" fmla="*/ 370 h 404"/>
                <a:gd name="T30" fmla="*/ 221 w 266"/>
                <a:gd name="T31" fmla="*/ 291 h 404"/>
                <a:gd name="T32" fmla="*/ 242 w 266"/>
                <a:gd name="T33" fmla="*/ 260 h 404"/>
                <a:gd name="T34" fmla="*/ 236 w 266"/>
                <a:gd name="T35" fmla="*/ 217 h 404"/>
                <a:gd name="T36" fmla="*/ 266 w 266"/>
                <a:gd name="T37" fmla="*/ 155 h 404"/>
                <a:gd name="T38" fmla="*/ 242 w 266"/>
                <a:gd name="T39" fmla="*/ 24 h 404"/>
                <a:gd name="T40" fmla="*/ 230 w 266"/>
                <a:gd name="T41" fmla="*/ 0 h 404"/>
                <a:gd name="T42" fmla="*/ 193 w 266"/>
                <a:gd name="T43" fmla="*/ 19 h 404"/>
                <a:gd name="T44" fmla="*/ 187 w 266"/>
                <a:gd name="T45" fmla="*/ 45 h 404"/>
                <a:gd name="T46" fmla="*/ 162 w 266"/>
                <a:gd name="T47" fmla="*/ 49 h 404"/>
                <a:gd name="T48" fmla="*/ 153 w 266"/>
                <a:gd name="T49" fmla="*/ 92 h 404"/>
                <a:gd name="T50" fmla="*/ 132 w 266"/>
                <a:gd name="T51" fmla="*/ 83 h 404"/>
                <a:gd name="T52" fmla="*/ 134 w 266"/>
                <a:gd name="T53" fmla="*/ 121 h 404"/>
                <a:gd name="T54" fmla="*/ 113 w 266"/>
                <a:gd name="T55" fmla="*/ 128 h 404"/>
                <a:gd name="T56" fmla="*/ 115 w 266"/>
                <a:gd name="T57" fmla="*/ 145 h 404"/>
                <a:gd name="T58" fmla="*/ 93 w 266"/>
                <a:gd name="T59" fmla="*/ 147 h 404"/>
                <a:gd name="T60" fmla="*/ 76 w 266"/>
                <a:gd name="T61" fmla="*/ 181 h 404"/>
                <a:gd name="T62" fmla="*/ 45 w 266"/>
                <a:gd name="T63" fmla="*/ 183 h 404"/>
                <a:gd name="T64" fmla="*/ 0 w 266"/>
                <a:gd name="T65" fmla="*/ 230 h 404"/>
                <a:gd name="T66" fmla="*/ 0 w 266"/>
                <a:gd name="T67" fmla="*/ 240 h 404"/>
                <a:gd name="T68" fmla="*/ 2 w 266"/>
                <a:gd name="T69" fmla="*/ 24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6" h="404">
                  <a:moveTo>
                    <a:pt x="2" y="247"/>
                  </a:moveTo>
                  <a:lnTo>
                    <a:pt x="38" y="332"/>
                  </a:lnTo>
                  <a:lnTo>
                    <a:pt x="57" y="353"/>
                  </a:lnTo>
                  <a:lnTo>
                    <a:pt x="53" y="385"/>
                  </a:lnTo>
                  <a:lnTo>
                    <a:pt x="72" y="379"/>
                  </a:lnTo>
                  <a:lnTo>
                    <a:pt x="108" y="404"/>
                  </a:lnTo>
                  <a:lnTo>
                    <a:pt x="125" y="377"/>
                  </a:lnTo>
                  <a:lnTo>
                    <a:pt x="140" y="372"/>
                  </a:lnTo>
                  <a:lnTo>
                    <a:pt x="155" y="396"/>
                  </a:lnTo>
                  <a:lnTo>
                    <a:pt x="170" y="374"/>
                  </a:lnTo>
                  <a:lnTo>
                    <a:pt x="208" y="398"/>
                  </a:lnTo>
                  <a:lnTo>
                    <a:pt x="210" y="396"/>
                  </a:lnTo>
                  <a:lnTo>
                    <a:pt x="210" y="379"/>
                  </a:lnTo>
                  <a:lnTo>
                    <a:pt x="208" y="377"/>
                  </a:lnTo>
                  <a:lnTo>
                    <a:pt x="208" y="370"/>
                  </a:lnTo>
                  <a:lnTo>
                    <a:pt x="221" y="291"/>
                  </a:lnTo>
                  <a:lnTo>
                    <a:pt x="242" y="260"/>
                  </a:lnTo>
                  <a:lnTo>
                    <a:pt x="236" y="217"/>
                  </a:lnTo>
                  <a:lnTo>
                    <a:pt x="266" y="155"/>
                  </a:lnTo>
                  <a:lnTo>
                    <a:pt x="242" y="24"/>
                  </a:lnTo>
                  <a:lnTo>
                    <a:pt x="230" y="0"/>
                  </a:lnTo>
                  <a:lnTo>
                    <a:pt x="193" y="19"/>
                  </a:lnTo>
                  <a:lnTo>
                    <a:pt x="187" y="45"/>
                  </a:lnTo>
                  <a:lnTo>
                    <a:pt x="162" y="49"/>
                  </a:lnTo>
                  <a:lnTo>
                    <a:pt x="153" y="92"/>
                  </a:lnTo>
                  <a:lnTo>
                    <a:pt x="132" y="83"/>
                  </a:lnTo>
                  <a:lnTo>
                    <a:pt x="134" y="121"/>
                  </a:lnTo>
                  <a:lnTo>
                    <a:pt x="113" y="128"/>
                  </a:lnTo>
                  <a:lnTo>
                    <a:pt x="115" y="145"/>
                  </a:lnTo>
                  <a:lnTo>
                    <a:pt x="93" y="147"/>
                  </a:lnTo>
                  <a:lnTo>
                    <a:pt x="76" y="181"/>
                  </a:lnTo>
                  <a:lnTo>
                    <a:pt x="45" y="183"/>
                  </a:lnTo>
                  <a:lnTo>
                    <a:pt x="0" y="230"/>
                  </a:lnTo>
                  <a:lnTo>
                    <a:pt x="0" y="240"/>
                  </a:lnTo>
                  <a:lnTo>
                    <a:pt x="2" y="2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2" name="Freeform 85">
              <a:extLst>
                <a:ext uri="{FF2B5EF4-FFF2-40B4-BE49-F238E27FC236}">
                  <a16:creationId xmlns:a16="http://schemas.microsoft.com/office/drawing/2014/main" id="{AAE2A271-98DA-4ADC-8E6D-4CD1389AD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8127" y="5845517"/>
              <a:ext cx="353151" cy="574255"/>
            </a:xfrm>
            <a:custGeom>
              <a:avLst/>
              <a:gdLst>
                <a:gd name="T0" fmla="*/ 41 w 230"/>
                <a:gd name="T1" fmla="*/ 40 h 374"/>
                <a:gd name="T2" fmla="*/ 17 w 230"/>
                <a:gd name="T3" fmla="*/ 11 h 374"/>
                <a:gd name="T4" fmla="*/ 5 w 230"/>
                <a:gd name="T5" fmla="*/ 15 h 374"/>
                <a:gd name="T6" fmla="*/ 13 w 230"/>
                <a:gd name="T7" fmla="*/ 0 h 374"/>
                <a:gd name="T8" fmla="*/ 17 w 230"/>
                <a:gd name="T9" fmla="*/ 4 h 374"/>
                <a:gd name="T10" fmla="*/ 85 w 230"/>
                <a:gd name="T11" fmla="*/ 21 h 374"/>
                <a:gd name="T12" fmla="*/ 98 w 230"/>
                <a:gd name="T13" fmla="*/ 47 h 374"/>
                <a:gd name="T14" fmla="*/ 137 w 230"/>
                <a:gd name="T15" fmla="*/ 66 h 374"/>
                <a:gd name="T16" fmla="*/ 166 w 230"/>
                <a:gd name="T17" fmla="*/ 134 h 374"/>
                <a:gd name="T18" fmla="*/ 183 w 230"/>
                <a:gd name="T19" fmla="*/ 134 h 374"/>
                <a:gd name="T20" fmla="*/ 183 w 230"/>
                <a:gd name="T21" fmla="*/ 196 h 374"/>
                <a:gd name="T22" fmla="*/ 207 w 230"/>
                <a:gd name="T23" fmla="*/ 206 h 374"/>
                <a:gd name="T24" fmla="*/ 230 w 230"/>
                <a:gd name="T25" fmla="*/ 193 h 374"/>
                <a:gd name="T26" fmla="*/ 230 w 230"/>
                <a:gd name="T27" fmla="*/ 264 h 374"/>
                <a:gd name="T28" fmla="*/ 179 w 230"/>
                <a:gd name="T29" fmla="*/ 374 h 374"/>
                <a:gd name="T30" fmla="*/ 145 w 230"/>
                <a:gd name="T31" fmla="*/ 366 h 374"/>
                <a:gd name="T32" fmla="*/ 149 w 230"/>
                <a:gd name="T33" fmla="*/ 349 h 374"/>
                <a:gd name="T34" fmla="*/ 60 w 230"/>
                <a:gd name="T35" fmla="*/ 300 h 374"/>
                <a:gd name="T36" fmla="*/ 66 w 230"/>
                <a:gd name="T37" fmla="*/ 272 h 374"/>
                <a:gd name="T38" fmla="*/ 98 w 230"/>
                <a:gd name="T39" fmla="*/ 257 h 374"/>
                <a:gd name="T40" fmla="*/ 28 w 230"/>
                <a:gd name="T41" fmla="*/ 236 h 374"/>
                <a:gd name="T42" fmla="*/ 68 w 230"/>
                <a:gd name="T43" fmla="*/ 179 h 374"/>
                <a:gd name="T44" fmla="*/ 54 w 230"/>
                <a:gd name="T45" fmla="*/ 166 h 374"/>
                <a:gd name="T46" fmla="*/ 15 w 230"/>
                <a:gd name="T47" fmla="*/ 174 h 374"/>
                <a:gd name="T48" fmla="*/ 13 w 230"/>
                <a:gd name="T49" fmla="*/ 151 h 374"/>
                <a:gd name="T50" fmla="*/ 54 w 230"/>
                <a:gd name="T51" fmla="*/ 121 h 374"/>
                <a:gd name="T52" fmla="*/ 5 w 230"/>
                <a:gd name="T53" fmla="*/ 85 h 374"/>
                <a:gd name="T54" fmla="*/ 0 w 230"/>
                <a:gd name="T55" fmla="*/ 53 h 374"/>
                <a:gd name="T56" fmla="*/ 41 w 230"/>
                <a:gd name="T57" fmla="*/ 4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0" h="374">
                  <a:moveTo>
                    <a:pt x="41" y="40"/>
                  </a:moveTo>
                  <a:lnTo>
                    <a:pt x="17" y="11"/>
                  </a:lnTo>
                  <a:lnTo>
                    <a:pt x="5" y="15"/>
                  </a:lnTo>
                  <a:lnTo>
                    <a:pt x="13" y="0"/>
                  </a:lnTo>
                  <a:lnTo>
                    <a:pt x="17" y="4"/>
                  </a:lnTo>
                  <a:lnTo>
                    <a:pt x="85" y="21"/>
                  </a:lnTo>
                  <a:lnTo>
                    <a:pt x="98" y="47"/>
                  </a:lnTo>
                  <a:lnTo>
                    <a:pt x="137" y="66"/>
                  </a:lnTo>
                  <a:lnTo>
                    <a:pt x="166" y="134"/>
                  </a:lnTo>
                  <a:lnTo>
                    <a:pt x="183" y="134"/>
                  </a:lnTo>
                  <a:lnTo>
                    <a:pt x="183" y="196"/>
                  </a:lnTo>
                  <a:lnTo>
                    <a:pt x="207" y="206"/>
                  </a:lnTo>
                  <a:lnTo>
                    <a:pt x="230" y="193"/>
                  </a:lnTo>
                  <a:lnTo>
                    <a:pt x="230" y="264"/>
                  </a:lnTo>
                  <a:lnTo>
                    <a:pt x="179" y="374"/>
                  </a:lnTo>
                  <a:lnTo>
                    <a:pt x="145" y="366"/>
                  </a:lnTo>
                  <a:lnTo>
                    <a:pt x="149" y="349"/>
                  </a:lnTo>
                  <a:lnTo>
                    <a:pt x="60" y="300"/>
                  </a:lnTo>
                  <a:lnTo>
                    <a:pt x="66" y="272"/>
                  </a:lnTo>
                  <a:lnTo>
                    <a:pt x="98" y="257"/>
                  </a:lnTo>
                  <a:lnTo>
                    <a:pt x="28" y="236"/>
                  </a:lnTo>
                  <a:lnTo>
                    <a:pt x="68" y="179"/>
                  </a:lnTo>
                  <a:lnTo>
                    <a:pt x="54" y="166"/>
                  </a:lnTo>
                  <a:lnTo>
                    <a:pt x="15" y="174"/>
                  </a:lnTo>
                  <a:lnTo>
                    <a:pt x="13" y="151"/>
                  </a:lnTo>
                  <a:lnTo>
                    <a:pt x="54" y="121"/>
                  </a:lnTo>
                  <a:lnTo>
                    <a:pt x="5" y="85"/>
                  </a:lnTo>
                  <a:lnTo>
                    <a:pt x="0" y="53"/>
                  </a:lnTo>
                  <a:lnTo>
                    <a:pt x="41" y="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3" name="Freeform 86">
              <a:extLst>
                <a:ext uri="{FF2B5EF4-FFF2-40B4-BE49-F238E27FC236}">
                  <a16:creationId xmlns:a16="http://schemas.microsoft.com/office/drawing/2014/main" id="{BDFD9214-0094-469F-ADDE-6C5F0E58F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313" y="3396490"/>
              <a:ext cx="515908" cy="581933"/>
            </a:xfrm>
            <a:custGeom>
              <a:avLst/>
              <a:gdLst>
                <a:gd name="T0" fmla="*/ 2 w 336"/>
                <a:gd name="T1" fmla="*/ 120 h 379"/>
                <a:gd name="T2" fmla="*/ 132 w 336"/>
                <a:gd name="T3" fmla="*/ 64 h 379"/>
                <a:gd name="T4" fmla="*/ 153 w 336"/>
                <a:gd name="T5" fmla="*/ 30 h 379"/>
                <a:gd name="T6" fmla="*/ 208 w 336"/>
                <a:gd name="T7" fmla="*/ 32 h 379"/>
                <a:gd name="T8" fmla="*/ 234 w 336"/>
                <a:gd name="T9" fmla="*/ 0 h 379"/>
                <a:gd name="T10" fmla="*/ 270 w 336"/>
                <a:gd name="T11" fmla="*/ 5 h 379"/>
                <a:gd name="T12" fmla="*/ 304 w 336"/>
                <a:gd name="T13" fmla="*/ 22 h 379"/>
                <a:gd name="T14" fmla="*/ 293 w 336"/>
                <a:gd name="T15" fmla="*/ 28 h 379"/>
                <a:gd name="T16" fmla="*/ 304 w 336"/>
                <a:gd name="T17" fmla="*/ 49 h 379"/>
                <a:gd name="T18" fmla="*/ 291 w 336"/>
                <a:gd name="T19" fmla="*/ 79 h 379"/>
                <a:gd name="T20" fmla="*/ 336 w 336"/>
                <a:gd name="T21" fmla="*/ 81 h 379"/>
                <a:gd name="T22" fmla="*/ 251 w 336"/>
                <a:gd name="T23" fmla="*/ 196 h 379"/>
                <a:gd name="T24" fmla="*/ 187 w 336"/>
                <a:gd name="T25" fmla="*/ 241 h 379"/>
                <a:gd name="T26" fmla="*/ 189 w 336"/>
                <a:gd name="T27" fmla="*/ 300 h 379"/>
                <a:gd name="T28" fmla="*/ 117 w 336"/>
                <a:gd name="T29" fmla="*/ 379 h 379"/>
                <a:gd name="T30" fmla="*/ 93 w 336"/>
                <a:gd name="T31" fmla="*/ 362 h 379"/>
                <a:gd name="T32" fmla="*/ 100 w 336"/>
                <a:gd name="T33" fmla="*/ 330 h 379"/>
                <a:gd name="T34" fmla="*/ 132 w 336"/>
                <a:gd name="T35" fmla="*/ 298 h 379"/>
                <a:gd name="T36" fmla="*/ 85 w 336"/>
                <a:gd name="T37" fmla="*/ 270 h 379"/>
                <a:gd name="T38" fmla="*/ 55 w 336"/>
                <a:gd name="T39" fmla="*/ 211 h 379"/>
                <a:gd name="T40" fmla="*/ 29 w 336"/>
                <a:gd name="T41" fmla="*/ 200 h 379"/>
                <a:gd name="T42" fmla="*/ 15 w 336"/>
                <a:gd name="T43" fmla="*/ 211 h 379"/>
                <a:gd name="T44" fmla="*/ 32 w 336"/>
                <a:gd name="T45" fmla="*/ 166 h 379"/>
                <a:gd name="T46" fmla="*/ 0 w 336"/>
                <a:gd name="T47" fmla="*/ 122 h 379"/>
                <a:gd name="T48" fmla="*/ 2 w 336"/>
                <a:gd name="T49" fmla="*/ 12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36" h="379">
                  <a:moveTo>
                    <a:pt x="2" y="120"/>
                  </a:moveTo>
                  <a:lnTo>
                    <a:pt x="132" y="64"/>
                  </a:lnTo>
                  <a:lnTo>
                    <a:pt x="153" y="30"/>
                  </a:lnTo>
                  <a:lnTo>
                    <a:pt x="208" y="32"/>
                  </a:lnTo>
                  <a:lnTo>
                    <a:pt x="234" y="0"/>
                  </a:lnTo>
                  <a:lnTo>
                    <a:pt x="270" y="5"/>
                  </a:lnTo>
                  <a:lnTo>
                    <a:pt x="304" y="22"/>
                  </a:lnTo>
                  <a:lnTo>
                    <a:pt x="293" y="28"/>
                  </a:lnTo>
                  <a:lnTo>
                    <a:pt x="304" y="49"/>
                  </a:lnTo>
                  <a:lnTo>
                    <a:pt x="291" y="79"/>
                  </a:lnTo>
                  <a:lnTo>
                    <a:pt x="336" y="81"/>
                  </a:lnTo>
                  <a:lnTo>
                    <a:pt x="251" y="196"/>
                  </a:lnTo>
                  <a:lnTo>
                    <a:pt x="187" y="241"/>
                  </a:lnTo>
                  <a:lnTo>
                    <a:pt x="189" y="300"/>
                  </a:lnTo>
                  <a:lnTo>
                    <a:pt x="117" y="379"/>
                  </a:lnTo>
                  <a:lnTo>
                    <a:pt x="93" y="362"/>
                  </a:lnTo>
                  <a:lnTo>
                    <a:pt x="100" y="330"/>
                  </a:lnTo>
                  <a:lnTo>
                    <a:pt x="132" y="298"/>
                  </a:lnTo>
                  <a:lnTo>
                    <a:pt x="85" y="270"/>
                  </a:lnTo>
                  <a:lnTo>
                    <a:pt x="55" y="211"/>
                  </a:lnTo>
                  <a:lnTo>
                    <a:pt x="29" y="200"/>
                  </a:lnTo>
                  <a:lnTo>
                    <a:pt x="15" y="211"/>
                  </a:lnTo>
                  <a:lnTo>
                    <a:pt x="32" y="166"/>
                  </a:lnTo>
                  <a:lnTo>
                    <a:pt x="0" y="122"/>
                  </a:lnTo>
                  <a:lnTo>
                    <a:pt x="2" y="12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4" name="Freeform 87">
              <a:extLst>
                <a:ext uri="{FF2B5EF4-FFF2-40B4-BE49-F238E27FC236}">
                  <a16:creationId xmlns:a16="http://schemas.microsoft.com/office/drawing/2014/main" id="{49B5F059-6173-4FF6-BA02-736D0945B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1815" y="2329358"/>
              <a:ext cx="548153" cy="460632"/>
            </a:xfrm>
            <a:custGeom>
              <a:avLst/>
              <a:gdLst>
                <a:gd name="T0" fmla="*/ 0 w 357"/>
                <a:gd name="T1" fmla="*/ 58 h 300"/>
                <a:gd name="T2" fmla="*/ 0 w 357"/>
                <a:gd name="T3" fmla="*/ 15 h 300"/>
                <a:gd name="T4" fmla="*/ 21 w 357"/>
                <a:gd name="T5" fmla="*/ 13 h 300"/>
                <a:gd name="T6" fmla="*/ 49 w 357"/>
                <a:gd name="T7" fmla="*/ 0 h 300"/>
                <a:gd name="T8" fmla="*/ 85 w 357"/>
                <a:gd name="T9" fmla="*/ 30 h 300"/>
                <a:gd name="T10" fmla="*/ 119 w 357"/>
                <a:gd name="T11" fmla="*/ 24 h 300"/>
                <a:gd name="T12" fmla="*/ 147 w 357"/>
                <a:gd name="T13" fmla="*/ 43 h 300"/>
                <a:gd name="T14" fmla="*/ 149 w 357"/>
                <a:gd name="T15" fmla="*/ 56 h 300"/>
                <a:gd name="T16" fmla="*/ 128 w 357"/>
                <a:gd name="T17" fmla="*/ 60 h 300"/>
                <a:gd name="T18" fmla="*/ 166 w 357"/>
                <a:gd name="T19" fmla="*/ 90 h 300"/>
                <a:gd name="T20" fmla="*/ 232 w 357"/>
                <a:gd name="T21" fmla="*/ 53 h 300"/>
                <a:gd name="T22" fmla="*/ 260 w 357"/>
                <a:gd name="T23" fmla="*/ 15 h 300"/>
                <a:gd name="T24" fmla="*/ 336 w 357"/>
                <a:gd name="T25" fmla="*/ 36 h 300"/>
                <a:gd name="T26" fmla="*/ 357 w 357"/>
                <a:gd name="T27" fmla="*/ 87 h 300"/>
                <a:gd name="T28" fmla="*/ 334 w 357"/>
                <a:gd name="T29" fmla="*/ 96 h 300"/>
                <a:gd name="T30" fmla="*/ 334 w 357"/>
                <a:gd name="T31" fmla="*/ 98 h 300"/>
                <a:gd name="T32" fmla="*/ 334 w 357"/>
                <a:gd name="T33" fmla="*/ 100 h 300"/>
                <a:gd name="T34" fmla="*/ 311 w 357"/>
                <a:gd name="T35" fmla="*/ 155 h 300"/>
                <a:gd name="T36" fmla="*/ 270 w 357"/>
                <a:gd name="T37" fmla="*/ 164 h 300"/>
                <a:gd name="T38" fmla="*/ 270 w 357"/>
                <a:gd name="T39" fmla="*/ 166 h 300"/>
                <a:gd name="T40" fmla="*/ 283 w 357"/>
                <a:gd name="T41" fmla="*/ 206 h 300"/>
                <a:gd name="T42" fmla="*/ 240 w 357"/>
                <a:gd name="T43" fmla="*/ 270 h 300"/>
                <a:gd name="T44" fmla="*/ 189 w 357"/>
                <a:gd name="T45" fmla="*/ 260 h 300"/>
                <a:gd name="T46" fmla="*/ 113 w 357"/>
                <a:gd name="T47" fmla="*/ 300 h 300"/>
                <a:gd name="T48" fmla="*/ 64 w 357"/>
                <a:gd name="T49" fmla="*/ 217 h 300"/>
                <a:gd name="T50" fmla="*/ 24 w 357"/>
                <a:gd name="T51" fmla="*/ 217 h 300"/>
                <a:gd name="T52" fmla="*/ 19 w 357"/>
                <a:gd name="T53" fmla="*/ 196 h 300"/>
                <a:gd name="T54" fmla="*/ 30 w 357"/>
                <a:gd name="T55" fmla="*/ 170 h 300"/>
                <a:gd name="T56" fmla="*/ 13 w 357"/>
                <a:gd name="T57" fmla="*/ 155 h 300"/>
                <a:gd name="T58" fmla="*/ 28 w 357"/>
                <a:gd name="T59" fmla="*/ 126 h 300"/>
                <a:gd name="T60" fmla="*/ 4 w 357"/>
                <a:gd name="T61" fmla="*/ 83 h 300"/>
                <a:gd name="T62" fmla="*/ 17 w 357"/>
                <a:gd name="T63" fmla="*/ 73 h 300"/>
                <a:gd name="T64" fmla="*/ 0 w 357"/>
                <a:gd name="T65" fmla="*/ 60 h 300"/>
                <a:gd name="T66" fmla="*/ 0 w 357"/>
                <a:gd name="T67" fmla="*/ 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7" h="300">
                  <a:moveTo>
                    <a:pt x="0" y="58"/>
                  </a:moveTo>
                  <a:lnTo>
                    <a:pt x="0" y="15"/>
                  </a:lnTo>
                  <a:lnTo>
                    <a:pt x="21" y="13"/>
                  </a:lnTo>
                  <a:lnTo>
                    <a:pt x="49" y="0"/>
                  </a:lnTo>
                  <a:lnTo>
                    <a:pt x="85" y="30"/>
                  </a:lnTo>
                  <a:lnTo>
                    <a:pt x="119" y="24"/>
                  </a:lnTo>
                  <a:lnTo>
                    <a:pt x="147" y="43"/>
                  </a:lnTo>
                  <a:lnTo>
                    <a:pt x="149" y="56"/>
                  </a:lnTo>
                  <a:lnTo>
                    <a:pt x="128" y="60"/>
                  </a:lnTo>
                  <a:lnTo>
                    <a:pt x="166" y="90"/>
                  </a:lnTo>
                  <a:lnTo>
                    <a:pt x="232" y="53"/>
                  </a:lnTo>
                  <a:lnTo>
                    <a:pt x="260" y="15"/>
                  </a:lnTo>
                  <a:lnTo>
                    <a:pt x="336" y="36"/>
                  </a:lnTo>
                  <a:lnTo>
                    <a:pt x="357" y="87"/>
                  </a:lnTo>
                  <a:lnTo>
                    <a:pt x="334" y="96"/>
                  </a:lnTo>
                  <a:lnTo>
                    <a:pt x="334" y="98"/>
                  </a:lnTo>
                  <a:lnTo>
                    <a:pt x="334" y="100"/>
                  </a:lnTo>
                  <a:lnTo>
                    <a:pt x="311" y="155"/>
                  </a:lnTo>
                  <a:lnTo>
                    <a:pt x="270" y="164"/>
                  </a:lnTo>
                  <a:lnTo>
                    <a:pt x="270" y="166"/>
                  </a:lnTo>
                  <a:lnTo>
                    <a:pt x="283" y="206"/>
                  </a:lnTo>
                  <a:lnTo>
                    <a:pt x="240" y="270"/>
                  </a:lnTo>
                  <a:lnTo>
                    <a:pt x="189" y="260"/>
                  </a:lnTo>
                  <a:lnTo>
                    <a:pt x="113" y="300"/>
                  </a:lnTo>
                  <a:lnTo>
                    <a:pt x="64" y="217"/>
                  </a:lnTo>
                  <a:lnTo>
                    <a:pt x="24" y="217"/>
                  </a:lnTo>
                  <a:lnTo>
                    <a:pt x="19" y="196"/>
                  </a:lnTo>
                  <a:lnTo>
                    <a:pt x="30" y="170"/>
                  </a:lnTo>
                  <a:lnTo>
                    <a:pt x="13" y="155"/>
                  </a:lnTo>
                  <a:lnTo>
                    <a:pt x="28" y="126"/>
                  </a:lnTo>
                  <a:lnTo>
                    <a:pt x="4" y="83"/>
                  </a:lnTo>
                  <a:lnTo>
                    <a:pt x="17" y="73"/>
                  </a:lnTo>
                  <a:lnTo>
                    <a:pt x="0" y="60"/>
                  </a:lnTo>
                  <a:lnTo>
                    <a:pt x="0" y="5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5" name="Freeform 88">
              <a:extLst>
                <a:ext uri="{FF2B5EF4-FFF2-40B4-BE49-F238E27FC236}">
                  <a16:creationId xmlns:a16="http://schemas.microsoft.com/office/drawing/2014/main" id="{9D88A5E3-7905-4E42-AFD0-681FE07BF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2765" y="5169923"/>
              <a:ext cx="638743" cy="565042"/>
            </a:xfrm>
            <a:custGeom>
              <a:avLst/>
              <a:gdLst>
                <a:gd name="T0" fmla="*/ 2 w 416"/>
                <a:gd name="T1" fmla="*/ 134 h 368"/>
                <a:gd name="T2" fmla="*/ 27 w 416"/>
                <a:gd name="T3" fmla="*/ 108 h 368"/>
                <a:gd name="T4" fmla="*/ 74 w 416"/>
                <a:gd name="T5" fmla="*/ 127 h 368"/>
                <a:gd name="T6" fmla="*/ 95 w 416"/>
                <a:gd name="T7" fmla="*/ 125 h 368"/>
                <a:gd name="T8" fmla="*/ 108 w 416"/>
                <a:gd name="T9" fmla="*/ 102 h 368"/>
                <a:gd name="T10" fmla="*/ 140 w 416"/>
                <a:gd name="T11" fmla="*/ 123 h 368"/>
                <a:gd name="T12" fmla="*/ 185 w 416"/>
                <a:gd name="T13" fmla="*/ 108 h 368"/>
                <a:gd name="T14" fmla="*/ 180 w 416"/>
                <a:gd name="T15" fmla="*/ 47 h 368"/>
                <a:gd name="T16" fmla="*/ 163 w 416"/>
                <a:gd name="T17" fmla="*/ 27 h 368"/>
                <a:gd name="T18" fmla="*/ 193 w 416"/>
                <a:gd name="T19" fmla="*/ 0 h 368"/>
                <a:gd name="T20" fmla="*/ 212 w 416"/>
                <a:gd name="T21" fmla="*/ 21 h 368"/>
                <a:gd name="T22" fmla="*/ 208 w 416"/>
                <a:gd name="T23" fmla="*/ 53 h 368"/>
                <a:gd name="T24" fmla="*/ 227 w 416"/>
                <a:gd name="T25" fmla="*/ 47 h 368"/>
                <a:gd name="T26" fmla="*/ 263 w 416"/>
                <a:gd name="T27" fmla="*/ 72 h 368"/>
                <a:gd name="T28" fmla="*/ 280 w 416"/>
                <a:gd name="T29" fmla="*/ 45 h 368"/>
                <a:gd name="T30" fmla="*/ 295 w 416"/>
                <a:gd name="T31" fmla="*/ 40 h 368"/>
                <a:gd name="T32" fmla="*/ 310 w 416"/>
                <a:gd name="T33" fmla="*/ 64 h 368"/>
                <a:gd name="T34" fmla="*/ 325 w 416"/>
                <a:gd name="T35" fmla="*/ 42 h 368"/>
                <a:gd name="T36" fmla="*/ 363 w 416"/>
                <a:gd name="T37" fmla="*/ 66 h 368"/>
                <a:gd name="T38" fmla="*/ 385 w 416"/>
                <a:gd name="T39" fmla="*/ 98 h 368"/>
                <a:gd name="T40" fmla="*/ 380 w 416"/>
                <a:gd name="T41" fmla="*/ 127 h 368"/>
                <a:gd name="T42" fmla="*/ 416 w 416"/>
                <a:gd name="T43" fmla="*/ 161 h 368"/>
                <a:gd name="T44" fmla="*/ 391 w 416"/>
                <a:gd name="T45" fmla="*/ 195 h 368"/>
                <a:gd name="T46" fmla="*/ 365 w 416"/>
                <a:gd name="T47" fmla="*/ 215 h 368"/>
                <a:gd name="T48" fmla="*/ 361 w 416"/>
                <a:gd name="T49" fmla="*/ 280 h 368"/>
                <a:gd name="T50" fmla="*/ 325 w 416"/>
                <a:gd name="T51" fmla="*/ 278 h 368"/>
                <a:gd name="T52" fmla="*/ 310 w 416"/>
                <a:gd name="T53" fmla="*/ 306 h 368"/>
                <a:gd name="T54" fmla="*/ 321 w 416"/>
                <a:gd name="T55" fmla="*/ 317 h 368"/>
                <a:gd name="T56" fmla="*/ 259 w 416"/>
                <a:gd name="T57" fmla="*/ 355 h 368"/>
                <a:gd name="T58" fmla="*/ 257 w 416"/>
                <a:gd name="T59" fmla="*/ 368 h 368"/>
                <a:gd name="T60" fmla="*/ 231 w 416"/>
                <a:gd name="T61" fmla="*/ 357 h 368"/>
                <a:gd name="T62" fmla="*/ 223 w 416"/>
                <a:gd name="T63" fmla="*/ 332 h 368"/>
                <a:gd name="T64" fmla="*/ 221 w 416"/>
                <a:gd name="T65" fmla="*/ 323 h 368"/>
                <a:gd name="T66" fmla="*/ 221 w 416"/>
                <a:gd name="T67" fmla="*/ 319 h 368"/>
                <a:gd name="T68" fmla="*/ 248 w 416"/>
                <a:gd name="T69" fmla="*/ 300 h 368"/>
                <a:gd name="T70" fmla="*/ 234 w 416"/>
                <a:gd name="T71" fmla="*/ 268 h 368"/>
                <a:gd name="T72" fmla="*/ 183 w 416"/>
                <a:gd name="T73" fmla="*/ 240 h 368"/>
                <a:gd name="T74" fmla="*/ 172 w 416"/>
                <a:gd name="T75" fmla="*/ 212 h 368"/>
                <a:gd name="T76" fmla="*/ 140 w 416"/>
                <a:gd name="T77" fmla="*/ 210 h 368"/>
                <a:gd name="T78" fmla="*/ 138 w 416"/>
                <a:gd name="T79" fmla="*/ 183 h 368"/>
                <a:gd name="T80" fmla="*/ 110 w 416"/>
                <a:gd name="T81" fmla="*/ 187 h 368"/>
                <a:gd name="T82" fmla="*/ 83 w 416"/>
                <a:gd name="T83" fmla="*/ 225 h 368"/>
                <a:gd name="T84" fmla="*/ 25 w 416"/>
                <a:gd name="T85" fmla="*/ 202 h 368"/>
                <a:gd name="T86" fmla="*/ 49 w 416"/>
                <a:gd name="T87" fmla="*/ 164 h 368"/>
                <a:gd name="T88" fmla="*/ 0 w 416"/>
                <a:gd name="T89" fmla="*/ 136 h 368"/>
                <a:gd name="T90" fmla="*/ 2 w 416"/>
                <a:gd name="T91" fmla="*/ 13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16" h="368">
                  <a:moveTo>
                    <a:pt x="2" y="134"/>
                  </a:moveTo>
                  <a:lnTo>
                    <a:pt x="27" y="108"/>
                  </a:lnTo>
                  <a:lnTo>
                    <a:pt x="74" y="127"/>
                  </a:lnTo>
                  <a:lnTo>
                    <a:pt x="95" y="125"/>
                  </a:lnTo>
                  <a:lnTo>
                    <a:pt x="108" y="102"/>
                  </a:lnTo>
                  <a:lnTo>
                    <a:pt x="140" y="123"/>
                  </a:lnTo>
                  <a:lnTo>
                    <a:pt x="185" y="108"/>
                  </a:lnTo>
                  <a:lnTo>
                    <a:pt x="180" y="47"/>
                  </a:lnTo>
                  <a:lnTo>
                    <a:pt x="163" y="27"/>
                  </a:lnTo>
                  <a:lnTo>
                    <a:pt x="193" y="0"/>
                  </a:lnTo>
                  <a:lnTo>
                    <a:pt x="212" y="21"/>
                  </a:lnTo>
                  <a:lnTo>
                    <a:pt x="208" y="53"/>
                  </a:lnTo>
                  <a:lnTo>
                    <a:pt x="227" y="47"/>
                  </a:lnTo>
                  <a:lnTo>
                    <a:pt x="263" y="72"/>
                  </a:lnTo>
                  <a:lnTo>
                    <a:pt x="280" y="45"/>
                  </a:lnTo>
                  <a:lnTo>
                    <a:pt x="295" y="40"/>
                  </a:lnTo>
                  <a:lnTo>
                    <a:pt x="310" y="64"/>
                  </a:lnTo>
                  <a:lnTo>
                    <a:pt x="325" y="42"/>
                  </a:lnTo>
                  <a:lnTo>
                    <a:pt x="363" y="66"/>
                  </a:lnTo>
                  <a:lnTo>
                    <a:pt x="385" y="98"/>
                  </a:lnTo>
                  <a:lnTo>
                    <a:pt x="380" y="127"/>
                  </a:lnTo>
                  <a:lnTo>
                    <a:pt x="416" y="161"/>
                  </a:lnTo>
                  <a:lnTo>
                    <a:pt x="391" y="195"/>
                  </a:lnTo>
                  <a:lnTo>
                    <a:pt x="365" y="215"/>
                  </a:lnTo>
                  <a:lnTo>
                    <a:pt x="361" y="280"/>
                  </a:lnTo>
                  <a:lnTo>
                    <a:pt x="325" y="278"/>
                  </a:lnTo>
                  <a:lnTo>
                    <a:pt x="310" y="306"/>
                  </a:lnTo>
                  <a:lnTo>
                    <a:pt x="321" y="317"/>
                  </a:lnTo>
                  <a:lnTo>
                    <a:pt x="259" y="355"/>
                  </a:lnTo>
                  <a:lnTo>
                    <a:pt x="257" y="368"/>
                  </a:lnTo>
                  <a:lnTo>
                    <a:pt x="231" y="357"/>
                  </a:lnTo>
                  <a:lnTo>
                    <a:pt x="223" y="332"/>
                  </a:lnTo>
                  <a:lnTo>
                    <a:pt x="221" y="323"/>
                  </a:lnTo>
                  <a:lnTo>
                    <a:pt x="221" y="319"/>
                  </a:lnTo>
                  <a:lnTo>
                    <a:pt x="248" y="300"/>
                  </a:lnTo>
                  <a:lnTo>
                    <a:pt x="234" y="268"/>
                  </a:lnTo>
                  <a:lnTo>
                    <a:pt x="183" y="240"/>
                  </a:lnTo>
                  <a:lnTo>
                    <a:pt x="172" y="212"/>
                  </a:lnTo>
                  <a:lnTo>
                    <a:pt x="140" y="210"/>
                  </a:lnTo>
                  <a:lnTo>
                    <a:pt x="138" y="183"/>
                  </a:lnTo>
                  <a:lnTo>
                    <a:pt x="110" y="187"/>
                  </a:lnTo>
                  <a:lnTo>
                    <a:pt x="83" y="225"/>
                  </a:lnTo>
                  <a:lnTo>
                    <a:pt x="25" y="202"/>
                  </a:lnTo>
                  <a:lnTo>
                    <a:pt x="49" y="164"/>
                  </a:lnTo>
                  <a:lnTo>
                    <a:pt x="0" y="136"/>
                  </a:lnTo>
                  <a:lnTo>
                    <a:pt x="2" y="1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6" name="Freeform 89">
              <a:extLst>
                <a:ext uri="{FF2B5EF4-FFF2-40B4-BE49-F238E27FC236}">
                  <a16:creationId xmlns:a16="http://schemas.microsoft.com/office/drawing/2014/main" id="{9F1D05EA-2717-4AD3-985F-68BA3AE11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7366" y="5469335"/>
              <a:ext cx="669452" cy="677130"/>
            </a:xfrm>
            <a:custGeom>
              <a:avLst/>
              <a:gdLst>
                <a:gd name="T0" fmla="*/ 2 w 436"/>
                <a:gd name="T1" fmla="*/ 417 h 441"/>
                <a:gd name="T2" fmla="*/ 11 w 436"/>
                <a:gd name="T3" fmla="*/ 370 h 441"/>
                <a:gd name="T4" fmla="*/ 32 w 436"/>
                <a:gd name="T5" fmla="*/ 377 h 441"/>
                <a:gd name="T6" fmla="*/ 57 w 436"/>
                <a:gd name="T7" fmla="*/ 341 h 441"/>
                <a:gd name="T8" fmla="*/ 47 w 436"/>
                <a:gd name="T9" fmla="*/ 315 h 441"/>
                <a:gd name="T10" fmla="*/ 23 w 436"/>
                <a:gd name="T11" fmla="*/ 324 h 441"/>
                <a:gd name="T12" fmla="*/ 34 w 436"/>
                <a:gd name="T13" fmla="*/ 298 h 441"/>
                <a:gd name="T14" fmla="*/ 4 w 436"/>
                <a:gd name="T15" fmla="*/ 277 h 441"/>
                <a:gd name="T16" fmla="*/ 51 w 436"/>
                <a:gd name="T17" fmla="*/ 213 h 441"/>
                <a:gd name="T18" fmla="*/ 91 w 436"/>
                <a:gd name="T19" fmla="*/ 177 h 441"/>
                <a:gd name="T20" fmla="*/ 155 w 436"/>
                <a:gd name="T21" fmla="*/ 196 h 441"/>
                <a:gd name="T22" fmla="*/ 172 w 436"/>
                <a:gd name="T23" fmla="*/ 132 h 441"/>
                <a:gd name="T24" fmla="*/ 210 w 436"/>
                <a:gd name="T25" fmla="*/ 124 h 441"/>
                <a:gd name="T26" fmla="*/ 147 w 436"/>
                <a:gd name="T27" fmla="*/ 41 h 441"/>
                <a:gd name="T28" fmla="*/ 200 w 436"/>
                <a:gd name="T29" fmla="*/ 30 h 441"/>
                <a:gd name="T30" fmla="*/ 217 w 436"/>
                <a:gd name="T31" fmla="*/ 49 h 441"/>
                <a:gd name="T32" fmla="*/ 255 w 436"/>
                <a:gd name="T33" fmla="*/ 32 h 441"/>
                <a:gd name="T34" fmla="*/ 240 w 436"/>
                <a:gd name="T35" fmla="*/ 22 h 441"/>
                <a:gd name="T36" fmla="*/ 257 w 436"/>
                <a:gd name="T37" fmla="*/ 7 h 441"/>
                <a:gd name="T38" fmla="*/ 308 w 436"/>
                <a:gd name="T39" fmla="*/ 0 h 441"/>
                <a:gd name="T40" fmla="*/ 317 w 436"/>
                <a:gd name="T41" fmla="*/ 37 h 441"/>
                <a:gd name="T42" fmla="*/ 346 w 436"/>
                <a:gd name="T43" fmla="*/ 73 h 441"/>
                <a:gd name="T44" fmla="*/ 336 w 436"/>
                <a:gd name="T45" fmla="*/ 81 h 441"/>
                <a:gd name="T46" fmla="*/ 353 w 436"/>
                <a:gd name="T47" fmla="*/ 92 h 441"/>
                <a:gd name="T48" fmla="*/ 342 w 436"/>
                <a:gd name="T49" fmla="*/ 107 h 441"/>
                <a:gd name="T50" fmla="*/ 400 w 436"/>
                <a:gd name="T51" fmla="*/ 154 h 441"/>
                <a:gd name="T52" fmla="*/ 436 w 436"/>
                <a:gd name="T53" fmla="*/ 154 h 441"/>
                <a:gd name="T54" fmla="*/ 431 w 436"/>
                <a:gd name="T55" fmla="*/ 179 h 441"/>
                <a:gd name="T56" fmla="*/ 397 w 436"/>
                <a:gd name="T57" fmla="*/ 192 h 441"/>
                <a:gd name="T58" fmla="*/ 383 w 436"/>
                <a:gd name="T59" fmla="*/ 175 h 441"/>
                <a:gd name="T60" fmla="*/ 372 w 436"/>
                <a:gd name="T61" fmla="*/ 211 h 441"/>
                <a:gd name="T62" fmla="*/ 351 w 436"/>
                <a:gd name="T63" fmla="*/ 213 h 441"/>
                <a:gd name="T64" fmla="*/ 342 w 436"/>
                <a:gd name="T65" fmla="*/ 232 h 441"/>
                <a:gd name="T66" fmla="*/ 338 w 436"/>
                <a:gd name="T67" fmla="*/ 236 h 441"/>
                <a:gd name="T68" fmla="*/ 325 w 436"/>
                <a:gd name="T69" fmla="*/ 249 h 441"/>
                <a:gd name="T70" fmla="*/ 287 w 436"/>
                <a:gd name="T71" fmla="*/ 228 h 441"/>
                <a:gd name="T72" fmla="*/ 278 w 436"/>
                <a:gd name="T73" fmla="*/ 258 h 441"/>
                <a:gd name="T74" fmla="*/ 240 w 436"/>
                <a:gd name="T75" fmla="*/ 222 h 441"/>
                <a:gd name="T76" fmla="*/ 232 w 436"/>
                <a:gd name="T77" fmla="*/ 234 h 441"/>
                <a:gd name="T78" fmla="*/ 255 w 436"/>
                <a:gd name="T79" fmla="*/ 251 h 441"/>
                <a:gd name="T80" fmla="*/ 215 w 436"/>
                <a:gd name="T81" fmla="*/ 264 h 441"/>
                <a:gd name="T82" fmla="*/ 234 w 436"/>
                <a:gd name="T83" fmla="*/ 287 h 441"/>
                <a:gd name="T84" fmla="*/ 223 w 436"/>
                <a:gd name="T85" fmla="*/ 298 h 441"/>
                <a:gd name="T86" fmla="*/ 168 w 436"/>
                <a:gd name="T87" fmla="*/ 279 h 441"/>
                <a:gd name="T88" fmla="*/ 149 w 436"/>
                <a:gd name="T89" fmla="*/ 294 h 441"/>
                <a:gd name="T90" fmla="*/ 144 w 436"/>
                <a:gd name="T91" fmla="*/ 341 h 441"/>
                <a:gd name="T92" fmla="*/ 104 w 436"/>
                <a:gd name="T93" fmla="*/ 362 h 441"/>
                <a:gd name="T94" fmla="*/ 104 w 436"/>
                <a:gd name="T95" fmla="*/ 364 h 441"/>
                <a:gd name="T96" fmla="*/ 110 w 436"/>
                <a:gd name="T97" fmla="*/ 392 h 441"/>
                <a:gd name="T98" fmla="*/ 64 w 436"/>
                <a:gd name="T99" fmla="*/ 379 h 441"/>
                <a:gd name="T100" fmla="*/ 59 w 436"/>
                <a:gd name="T101" fmla="*/ 441 h 441"/>
                <a:gd name="T102" fmla="*/ 8 w 436"/>
                <a:gd name="T103" fmla="*/ 436 h 441"/>
                <a:gd name="T104" fmla="*/ 0 w 436"/>
                <a:gd name="T105" fmla="*/ 424 h 441"/>
                <a:gd name="T106" fmla="*/ 2 w 436"/>
                <a:gd name="T107" fmla="*/ 417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36" h="441">
                  <a:moveTo>
                    <a:pt x="2" y="417"/>
                  </a:moveTo>
                  <a:lnTo>
                    <a:pt x="11" y="370"/>
                  </a:lnTo>
                  <a:lnTo>
                    <a:pt x="32" y="377"/>
                  </a:lnTo>
                  <a:lnTo>
                    <a:pt x="57" y="341"/>
                  </a:lnTo>
                  <a:lnTo>
                    <a:pt x="47" y="315"/>
                  </a:lnTo>
                  <a:lnTo>
                    <a:pt x="23" y="324"/>
                  </a:lnTo>
                  <a:lnTo>
                    <a:pt x="34" y="298"/>
                  </a:lnTo>
                  <a:lnTo>
                    <a:pt x="4" y="277"/>
                  </a:lnTo>
                  <a:lnTo>
                    <a:pt x="51" y="213"/>
                  </a:lnTo>
                  <a:lnTo>
                    <a:pt x="91" y="177"/>
                  </a:lnTo>
                  <a:lnTo>
                    <a:pt x="155" y="196"/>
                  </a:lnTo>
                  <a:lnTo>
                    <a:pt x="172" y="132"/>
                  </a:lnTo>
                  <a:lnTo>
                    <a:pt x="210" y="124"/>
                  </a:lnTo>
                  <a:lnTo>
                    <a:pt x="147" y="41"/>
                  </a:lnTo>
                  <a:lnTo>
                    <a:pt x="200" y="30"/>
                  </a:lnTo>
                  <a:lnTo>
                    <a:pt x="217" y="49"/>
                  </a:lnTo>
                  <a:lnTo>
                    <a:pt x="255" y="32"/>
                  </a:lnTo>
                  <a:lnTo>
                    <a:pt x="240" y="22"/>
                  </a:lnTo>
                  <a:lnTo>
                    <a:pt x="257" y="7"/>
                  </a:lnTo>
                  <a:lnTo>
                    <a:pt x="308" y="0"/>
                  </a:lnTo>
                  <a:lnTo>
                    <a:pt x="317" y="37"/>
                  </a:lnTo>
                  <a:lnTo>
                    <a:pt x="346" y="73"/>
                  </a:lnTo>
                  <a:lnTo>
                    <a:pt x="336" y="81"/>
                  </a:lnTo>
                  <a:lnTo>
                    <a:pt x="353" y="92"/>
                  </a:lnTo>
                  <a:lnTo>
                    <a:pt x="342" y="107"/>
                  </a:lnTo>
                  <a:lnTo>
                    <a:pt x="400" y="154"/>
                  </a:lnTo>
                  <a:lnTo>
                    <a:pt x="436" y="154"/>
                  </a:lnTo>
                  <a:lnTo>
                    <a:pt x="431" y="179"/>
                  </a:lnTo>
                  <a:lnTo>
                    <a:pt x="397" y="192"/>
                  </a:lnTo>
                  <a:lnTo>
                    <a:pt x="383" y="175"/>
                  </a:lnTo>
                  <a:lnTo>
                    <a:pt x="372" y="211"/>
                  </a:lnTo>
                  <a:lnTo>
                    <a:pt x="351" y="213"/>
                  </a:lnTo>
                  <a:lnTo>
                    <a:pt x="342" y="232"/>
                  </a:lnTo>
                  <a:lnTo>
                    <a:pt x="338" y="236"/>
                  </a:lnTo>
                  <a:lnTo>
                    <a:pt x="325" y="249"/>
                  </a:lnTo>
                  <a:lnTo>
                    <a:pt x="287" y="228"/>
                  </a:lnTo>
                  <a:lnTo>
                    <a:pt x="278" y="258"/>
                  </a:lnTo>
                  <a:lnTo>
                    <a:pt x="240" y="222"/>
                  </a:lnTo>
                  <a:lnTo>
                    <a:pt x="232" y="234"/>
                  </a:lnTo>
                  <a:lnTo>
                    <a:pt x="255" y="251"/>
                  </a:lnTo>
                  <a:lnTo>
                    <a:pt x="215" y="264"/>
                  </a:lnTo>
                  <a:lnTo>
                    <a:pt x="234" y="287"/>
                  </a:lnTo>
                  <a:lnTo>
                    <a:pt x="223" y="298"/>
                  </a:lnTo>
                  <a:lnTo>
                    <a:pt x="168" y="279"/>
                  </a:lnTo>
                  <a:lnTo>
                    <a:pt x="149" y="294"/>
                  </a:lnTo>
                  <a:lnTo>
                    <a:pt x="144" y="341"/>
                  </a:lnTo>
                  <a:lnTo>
                    <a:pt x="104" y="362"/>
                  </a:lnTo>
                  <a:lnTo>
                    <a:pt x="104" y="364"/>
                  </a:lnTo>
                  <a:lnTo>
                    <a:pt x="110" y="392"/>
                  </a:lnTo>
                  <a:lnTo>
                    <a:pt x="64" y="379"/>
                  </a:lnTo>
                  <a:lnTo>
                    <a:pt x="59" y="441"/>
                  </a:lnTo>
                  <a:lnTo>
                    <a:pt x="8" y="436"/>
                  </a:lnTo>
                  <a:lnTo>
                    <a:pt x="0" y="424"/>
                  </a:lnTo>
                  <a:lnTo>
                    <a:pt x="2" y="4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7" name="Freeform 90">
              <a:extLst>
                <a:ext uri="{FF2B5EF4-FFF2-40B4-BE49-F238E27FC236}">
                  <a16:creationId xmlns:a16="http://schemas.microsoft.com/office/drawing/2014/main" id="{595B8E3C-2645-4316-A355-40DC2D138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4890" y="5450909"/>
              <a:ext cx="678665" cy="420711"/>
            </a:xfrm>
            <a:custGeom>
              <a:avLst/>
              <a:gdLst>
                <a:gd name="T0" fmla="*/ 2 w 442"/>
                <a:gd name="T1" fmla="*/ 223 h 274"/>
                <a:gd name="T2" fmla="*/ 9 w 442"/>
                <a:gd name="T3" fmla="*/ 197 h 274"/>
                <a:gd name="T4" fmla="*/ 36 w 442"/>
                <a:gd name="T5" fmla="*/ 180 h 274"/>
                <a:gd name="T6" fmla="*/ 22 w 442"/>
                <a:gd name="T7" fmla="*/ 144 h 274"/>
                <a:gd name="T8" fmla="*/ 30 w 442"/>
                <a:gd name="T9" fmla="*/ 112 h 274"/>
                <a:gd name="T10" fmla="*/ 58 w 442"/>
                <a:gd name="T11" fmla="*/ 127 h 274"/>
                <a:gd name="T12" fmla="*/ 107 w 442"/>
                <a:gd name="T13" fmla="*/ 97 h 274"/>
                <a:gd name="T14" fmla="*/ 139 w 442"/>
                <a:gd name="T15" fmla="*/ 97 h 274"/>
                <a:gd name="T16" fmla="*/ 141 w 442"/>
                <a:gd name="T17" fmla="*/ 46 h 274"/>
                <a:gd name="T18" fmla="*/ 183 w 442"/>
                <a:gd name="T19" fmla="*/ 53 h 274"/>
                <a:gd name="T20" fmla="*/ 194 w 442"/>
                <a:gd name="T21" fmla="*/ 25 h 274"/>
                <a:gd name="T22" fmla="*/ 219 w 442"/>
                <a:gd name="T23" fmla="*/ 19 h 274"/>
                <a:gd name="T24" fmla="*/ 277 w 442"/>
                <a:gd name="T25" fmla="*/ 42 h 274"/>
                <a:gd name="T26" fmla="*/ 304 w 442"/>
                <a:gd name="T27" fmla="*/ 4 h 274"/>
                <a:gd name="T28" fmla="*/ 332 w 442"/>
                <a:gd name="T29" fmla="*/ 0 h 274"/>
                <a:gd name="T30" fmla="*/ 334 w 442"/>
                <a:gd name="T31" fmla="*/ 27 h 274"/>
                <a:gd name="T32" fmla="*/ 366 w 442"/>
                <a:gd name="T33" fmla="*/ 29 h 274"/>
                <a:gd name="T34" fmla="*/ 377 w 442"/>
                <a:gd name="T35" fmla="*/ 57 h 274"/>
                <a:gd name="T36" fmla="*/ 428 w 442"/>
                <a:gd name="T37" fmla="*/ 85 h 274"/>
                <a:gd name="T38" fmla="*/ 442 w 442"/>
                <a:gd name="T39" fmla="*/ 117 h 274"/>
                <a:gd name="T40" fmla="*/ 415 w 442"/>
                <a:gd name="T41" fmla="*/ 136 h 274"/>
                <a:gd name="T42" fmla="*/ 415 w 442"/>
                <a:gd name="T43" fmla="*/ 140 h 274"/>
                <a:gd name="T44" fmla="*/ 417 w 442"/>
                <a:gd name="T45" fmla="*/ 149 h 274"/>
                <a:gd name="T46" fmla="*/ 366 w 442"/>
                <a:gd name="T47" fmla="*/ 163 h 274"/>
                <a:gd name="T48" fmla="*/ 260 w 442"/>
                <a:gd name="T49" fmla="*/ 255 h 274"/>
                <a:gd name="T50" fmla="*/ 238 w 442"/>
                <a:gd name="T51" fmla="*/ 248 h 274"/>
                <a:gd name="T52" fmla="*/ 187 w 442"/>
                <a:gd name="T53" fmla="*/ 274 h 274"/>
                <a:gd name="T54" fmla="*/ 96 w 442"/>
                <a:gd name="T55" fmla="*/ 234 h 274"/>
                <a:gd name="T56" fmla="*/ 90 w 442"/>
                <a:gd name="T57" fmla="*/ 214 h 274"/>
                <a:gd name="T58" fmla="*/ 58 w 442"/>
                <a:gd name="T59" fmla="*/ 259 h 274"/>
                <a:gd name="T60" fmla="*/ 41 w 442"/>
                <a:gd name="T61" fmla="*/ 236 h 274"/>
                <a:gd name="T62" fmla="*/ 22 w 442"/>
                <a:gd name="T63" fmla="*/ 246 h 274"/>
                <a:gd name="T64" fmla="*/ 0 w 442"/>
                <a:gd name="T65" fmla="*/ 225 h 274"/>
                <a:gd name="T66" fmla="*/ 2 w 442"/>
                <a:gd name="T67" fmla="*/ 2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42" h="274">
                  <a:moveTo>
                    <a:pt x="2" y="223"/>
                  </a:moveTo>
                  <a:lnTo>
                    <a:pt x="9" y="197"/>
                  </a:lnTo>
                  <a:lnTo>
                    <a:pt x="36" y="180"/>
                  </a:lnTo>
                  <a:lnTo>
                    <a:pt x="22" y="144"/>
                  </a:lnTo>
                  <a:lnTo>
                    <a:pt x="30" y="112"/>
                  </a:lnTo>
                  <a:lnTo>
                    <a:pt x="58" y="127"/>
                  </a:lnTo>
                  <a:lnTo>
                    <a:pt x="107" y="97"/>
                  </a:lnTo>
                  <a:lnTo>
                    <a:pt x="139" y="97"/>
                  </a:lnTo>
                  <a:lnTo>
                    <a:pt x="141" y="46"/>
                  </a:lnTo>
                  <a:lnTo>
                    <a:pt x="183" y="53"/>
                  </a:lnTo>
                  <a:lnTo>
                    <a:pt x="194" y="25"/>
                  </a:lnTo>
                  <a:lnTo>
                    <a:pt x="219" y="19"/>
                  </a:lnTo>
                  <a:lnTo>
                    <a:pt x="277" y="42"/>
                  </a:lnTo>
                  <a:lnTo>
                    <a:pt x="304" y="4"/>
                  </a:lnTo>
                  <a:lnTo>
                    <a:pt x="332" y="0"/>
                  </a:lnTo>
                  <a:lnTo>
                    <a:pt x="334" y="27"/>
                  </a:lnTo>
                  <a:lnTo>
                    <a:pt x="366" y="29"/>
                  </a:lnTo>
                  <a:lnTo>
                    <a:pt x="377" y="57"/>
                  </a:lnTo>
                  <a:lnTo>
                    <a:pt x="428" y="85"/>
                  </a:lnTo>
                  <a:lnTo>
                    <a:pt x="442" y="117"/>
                  </a:lnTo>
                  <a:lnTo>
                    <a:pt x="415" y="136"/>
                  </a:lnTo>
                  <a:lnTo>
                    <a:pt x="415" y="140"/>
                  </a:lnTo>
                  <a:lnTo>
                    <a:pt x="417" y="149"/>
                  </a:lnTo>
                  <a:lnTo>
                    <a:pt x="366" y="163"/>
                  </a:lnTo>
                  <a:lnTo>
                    <a:pt x="260" y="255"/>
                  </a:lnTo>
                  <a:lnTo>
                    <a:pt x="238" y="248"/>
                  </a:lnTo>
                  <a:lnTo>
                    <a:pt x="187" y="274"/>
                  </a:lnTo>
                  <a:lnTo>
                    <a:pt x="96" y="234"/>
                  </a:lnTo>
                  <a:lnTo>
                    <a:pt x="90" y="214"/>
                  </a:lnTo>
                  <a:lnTo>
                    <a:pt x="58" y="259"/>
                  </a:lnTo>
                  <a:lnTo>
                    <a:pt x="41" y="236"/>
                  </a:lnTo>
                  <a:lnTo>
                    <a:pt x="22" y="246"/>
                  </a:lnTo>
                  <a:lnTo>
                    <a:pt x="0" y="225"/>
                  </a:lnTo>
                  <a:lnTo>
                    <a:pt x="2" y="22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8" name="Freeform 91">
              <a:extLst>
                <a:ext uri="{FF2B5EF4-FFF2-40B4-BE49-F238E27FC236}">
                  <a16:creationId xmlns:a16="http://schemas.microsoft.com/office/drawing/2014/main" id="{7245D374-8466-413F-B1E1-9AB2B950B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0708" y="2717825"/>
              <a:ext cx="475986" cy="597287"/>
            </a:xfrm>
            <a:custGeom>
              <a:avLst/>
              <a:gdLst>
                <a:gd name="T0" fmla="*/ 2 w 310"/>
                <a:gd name="T1" fmla="*/ 247 h 389"/>
                <a:gd name="T2" fmla="*/ 29 w 310"/>
                <a:gd name="T3" fmla="*/ 226 h 389"/>
                <a:gd name="T4" fmla="*/ 8 w 310"/>
                <a:gd name="T5" fmla="*/ 230 h 389"/>
                <a:gd name="T6" fmla="*/ 2 w 310"/>
                <a:gd name="T7" fmla="*/ 204 h 389"/>
                <a:gd name="T8" fmla="*/ 29 w 310"/>
                <a:gd name="T9" fmla="*/ 162 h 389"/>
                <a:gd name="T10" fmla="*/ 87 w 310"/>
                <a:gd name="T11" fmla="*/ 153 h 389"/>
                <a:gd name="T12" fmla="*/ 95 w 310"/>
                <a:gd name="T13" fmla="*/ 130 h 389"/>
                <a:gd name="T14" fmla="*/ 102 w 310"/>
                <a:gd name="T15" fmla="*/ 62 h 389"/>
                <a:gd name="T16" fmla="*/ 53 w 310"/>
                <a:gd name="T17" fmla="*/ 36 h 389"/>
                <a:gd name="T18" fmla="*/ 49 w 310"/>
                <a:gd name="T19" fmla="*/ 24 h 389"/>
                <a:gd name="T20" fmla="*/ 123 w 310"/>
                <a:gd name="T21" fmla="*/ 0 h 389"/>
                <a:gd name="T22" fmla="*/ 121 w 310"/>
                <a:gd name="T23" fmla="*/ 34 h 389"/>
                <a:gd name="T24" fmla="*/ 189 w 310"/>
                <a:gd name="T25" fmla="*/ 34 h 389"/>
                <a:gd name="T26" fmla="*/ 219 w 310"/>
                <a:gd name="T27" fmla="*/ 98 h 389"/>
                <a:gd name="T28" fmla="*/ 265 w 310"/>
                <a:gd name="T29" fmla="*/ 70 h 389"/>
                <a:gd name="T30" fmla="*/ 306 w 310"/>
                <a:gd name="T31" fmla="*/ 87 h 389"/>
                <a:gd name="T32" fmla="*/ 308 w 310"/>
                <a:gd name="T33" fmla="*/ 153 h 389"/>
                <a:gd name="T34" fmla="*/ 295 w 310"/>
                <a:gd name="T35" fmla="*/ 175 h 389"/>
                <a:gd name="T36" fmla="*/ 310 w 310"/>
                <a:gd name="T37" fmla="*/ 266 h 389"/>
                <a:gd name="T38" fmla="*/ 276 w 310"/>
                <a:gd name="T39" fmla="*/ 281 h 389"/>
                <a:gd name="T40" fmla="*/ 250 w 310"/>
                <a:gd name="T41" fmla="*/ 336 h 389"/>
                <a:gd name="T42" fmla="*/ 250 w 310"/>
                <a:gd name="T43" fmla="*/ 338 h 389"/>
                <a:gd name="T44" fmla="*/ 246 w 310"/>
                <a:gd name="T45" fmla="*/ 351 h 389"/>
                <a:gd name="T46" fmla="*/ 195 w 310"/>
                <a:gd name="T47" fmla="*/ 326 h 389"/>
                <a:gd name="T48" fmla="*/ 144 w 310"/>
                <a:gd name="T49" fmla="*/ 366 h 389"/>
                <a:gd name="T50" fmla="*/ 68 w 310"/>
                <a:gd name="T51" fmla="*/ 370 h 389"/>
                <a:gd name="T52" fmla="*/ 34 w 310"/>
                <a:gd name="T53" fmla="*/ 389 h 389"/>
                <a:gd name="T54" fmla="*/ 29 w 310"/>
                <a:gd name="T55" fmla="*/ 355 h 389"/>
                <a:gd name="T56" fmla="*/ 49 w 310"/>
                <a:gd name="T57" fmla="*/ 347 h 389"/>
                <a:gd name="T58" fmla="*/ 32 w 310"/>
                <a:gd name="T59" fmla="*/ 338 h 389"/>
                <a:gd name="T60" fmla="*/ 53 w 310"/>
                <a:gd name="T61" fmla="*/ 309 h 389"/>
                <a:gd name="T62" fmla="*/ 36 w 310"/>
                <a:gd name="T63" fmla="*/ 309 h 389"/>
                <a:gd name="T64" fmla="*/ 46 w 310"/>
                <a:gd name="T65" fmla="*/ 283 h 389"/>
                <a:gd name="T66" fmla="*/ 34 w 310"/>
                <a:gd name="T67" fmla="*/ 260 h 389"/>
                <a:gd name="T68" fmla="*/ 0 w 310"/>
                <a:gd name="T69" fmla="*/ 253 h 389"/>
                <a:gd name="T70" fmla="*/ 2 w 310"/>
                <a:gd name="T71" fmla="*/ 247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0" h="389">
                  <a:moveTo>
                    <a:pt x="2" y="247"/>
                  </a:moveTo>
                  <a:lnTo>
                    <a:pt x="29" y="226"/>
                  </a:lnTo>
                  <a:lnTo>
                    <a:pt x="8" y="230"/>
                  </a:lnTo>
                  <a:lnTo>
                    <a:pt x="2" y="204"/>
                  </a:lnTo>
                  <a:lnTo>
                    <a:pt x="29" y="162"/>
                  </a:lnTo>
                  <a:lnTo>
                    <a:pt x="87" y="153"/>
                  </a:lnTo>
                  <a:lnTo>
                    <a:pt x="95" y="130"/>
                  </a:lnTo>
                  <a:lnTo>
                    <a:pt x="102" y="62"/>
                  </a:lnTo>
                  <a:lnTo>
                    <a:pt x="53" y="36"/>
                  </a:lnTo>
                  <a:lnTo>
                    <a:pt x="49" y="24"/>
                  </a:lnTo>
                  <a:lnTo>
                    <a:pt x="123" y="0"/>
                  </a:lnTo>
                  <a:lnTo>
                    <a:pt x="121" y="34"/>
                  </a:lnTo>
                  <a:lnTo>
                    <a:pt x="189" y="34"/>
                  </a:lnTo>
                  <a:lnTo>
                    <a:pt x="219" y="98"/>
                  </a:lnTo>
                  <a:lnTo>
                    <a:pt x="265" y="70"/>
                  </a:lnTo>
                  <a:lnTo>
                    <a:pt x="306" y="87"/>
                  </a:lnTo>
                  <a:lnTo>
                    <a:pt x="308" y="153"/>
                  </a:lnTo>
                  <a:lnTo>
                    <a:pt x="295" y="175"/>
                  </a:lnTo>
                  <a:lnTo>
                    <a:pt x="310" y="266"/>
                  </a:lnTo>
                  <a:lnTo>
                    <a:pt x="276" y="281"/>
                  </a:lnTo>
                  <a:lnTo>
                    <a:pt x="250" y="336"/>
                  </a:lnTo>
                  <a:lnTo>
                    <a:pt x="250" y="338"/>
                  </a:lnTo>
                  <a:lnTo>
                    <a:pt x="246" y="351"/>
                  </a:lnTo>
                  <a:lnTo>
                    <a:pt x="195" y="326"/>
                  </a:lnTo>
                  <a:lnTo>
                    <a:pt x="144" y="366"/>
                  </a:lnTo>
                  <a:lnTo>
                    <a:pt x="68" y="370"/>
                  </a:lnTo>
                  <a:lnTo>
                    <a:pt x="34" y="389"/>
                  </a:lnTo>
                  <a:lnTo>
                    <a:pt x="29" y="355"/>
                  </a:lnTo>
                  <a:lnTo>
                    <a:pt x="49" y="347"/>
                  </a:lnTo>
                  <a:lnTo>
                    <a:pt x="32" y="338"/>
                  </a:lnTo>
                  <a:lnTo>
                    <a:pt x="53" y="309"/>
                  </a:lnTo>
                  <a:lnTo>
                    <a:pt x="36" y="309"/>
                  </a:lnTo>
                  <a:lnTo>
                    <a:pt x="46" y="283"/>
                  </a:lnTo>
                  <a:lnTo>
                    <a:pt x="34" y="260"/>
                  </a:lnTo>
                  <a:lnTo>
                    <a:pt x="0" y="253"/>
                  </a:lnTo>
                  <a:lnTo>
                    <a:pt x="2" y="2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9" name="Freeform 92">
              <a:extLst>
                <a:ext uri="{FF2B5EF4-FFF2-40B4-BE49-F238E27FC236}">
                  <a16:creationId xmlns:a16="http://schemas.microsoft.com/office/drawing/2014/main" id="{87FF827C-0591-4E43-8EC0-BE1FBCA26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0203" y="2989597"/>
              <a:ext cx="603428" cy="482128"/>
            </a:xfrm>
            <a:custGeom>
              <a:avLst/>
              <a:gdLst>
                <a:gd name="T0" fmla="*/ 2 w 393"/>
                <a:gd name="T1" fmla="*/ 117 h 314"/>
                <a:gd name="T2" fmla="*/ 32 w 393"/>
                <a:gd name="T3" fmla="*/ 93 h 314"/>
                <a:gd name="T4" fmla="*/ 85 w 393"/>
                <a:gd name="T5" fmla="*/ 91 h 314"/>
                <a:gd name="T6" fmla="*/ 110 w 393"/>
                <a:gd name="T7" fmla="*/ 59 h 314"/>
                <a:gd name="T8" fmla="*/ 117 w 393"/>
                <a:gd name="T9" fmla="*/ 19 h 314"/>
                <a:gd name="T10" fmla="*/ 170 w 393"/>
                <a:gd name="T11" fmla="*/ 0 h 314"/>
                <a:gd name="T12" fmla="*/ 178 w 393"/>
                <a:gd name="T13" fmla="*/ 15 h 314"/>
                <a:gd name="T14" fmla="*/ 216 w 393"/>
                <a:gd name="T15" fmla="*/ 8 h 314"/>
                <a:gd name="T16" fmla="*/ 246 w 393"/>
                <a:gd name="T17" fmla="*/ 53 h 314"/>
                <a:gd name="T18" fmla="*/ 231 w 393"/>
                <a:gd name="T19" fmla="*/ 78 h 314"/>
                <a:gd name="T20" fmla="*/ 348 w 393"/>
                <a:gd name="T21" fmla="*/ 66 h 314"/>
                <a:gd name="T22" fmla="*/ 370 w 393"/>
                <a:gd name="T23" fmla="*/ 76 h 314"/>
                <a:gd name="T24" fmla="*/ 393 w 393"/>
                <a:gd name="T25" fmla="*/ 138 h 314"/>
                <a:gd name="T26" fmla="*/ 363 w 393"/>
                <a:gd name="T27" fmla="*/ 166 h 314"/>
                <a:gd name="T28" fmla="*/ 367 w 393"/>
                <a:gd name="T29" fmla="*/ 204 h 314"/>
                <a:gd name="T30" fmla="*/ 325 w 393"/>
                <a:gd name="T31" fmla="*/ 225 h 314"/>
                <a:gd name="T32" fmla="*/ 325 w 393"/>
                <a:gd name="T33" fmla="*/ 229 h 314"/>
                <a:gd name="T34" fmla="*/ 355 w 393"/>
                <a:gd name="T35" fmla="*/ 282 h 314"/>
                <a:gd name="T36" fmla="*/ 327 w 393"/>
                <a:gd name="T37" fmla="*/ 291 h 314"/>
                <a:gd name="T38" fmla="*/ 323 w 393"/>
                <a:gd name="T39" fmla="*/ 291 h 314"/>
                <a:gd name="T40" fmla="*/ 329 w 393"/>
                <a:gd name="T41" fmla="*/ 302 h 314"/>
                <a:gd name="T42" fmla="*/ 314 w 393"/>
                <a:gd name="T43" fmla="*/ 310 h 314"/>
                <a:gd name="T44" fmla="*/ 295 w 393"/>
                <a:gd name="T45" fmla="*/ 295 h 314"/>
                <a:gd name="T46" fmla="*/ 278 w 393"/>
                <a:gd name="T47" fmla="*/ 314 h 314"/>
                <a:gd name="T48" fmla="*/ 248 w 393"/>
                <a:gd name="T49" fmla="*/ 280 h 314"/>
                <a:gd name="T50" fmla="*/ 174 w 393"/>
                <a:gd name="T51" fmla="*/ 261 h 314"/>
                <a:gd name="T52" fmla="*/ 165 w 393"/>
                <a:gd name="T53" fmla="*/ 242 h 314"/>
                <a:gd name="T54" fmla="*/ 134 w 393"/>
                <a:gd name="T55" fmla="*/ 240 h 314"/>
                <a:gd name="T56" fmla="*/ 78 w 393"/>
                <a:gd name="T57" fmla="*/ 236 h 314"/>
                <a:gd name="T58" fmla="*/ 63 w 393"/>
                <a:gd name="T59" fmla="*/ 255 h 314"/>
                <a:gd name="T60" fmla="*/ 44 w 393"/>
                <a:gd name="T61" fmla="*/ 219 h 314"/>
                <a:gd name="T62" fmla="*/ 25 w 393"/>
                <a:gd name="T63" fmla="*/ 208 h 314"/>
                <a:gd name="T64" fmla="*/ 12 w 393"/>
                <a:gd name="T65" fmla="*/ 221 h 314"/>
                <a:gd name="T66" fmla="*/ 2 w 393"/>
                <a:gd name="T67" fmla="*/ 183 h 314"/>
                <a:gd name="T68" fmla="*/ 17 w 393"/>
                <a:gd name="T69" fmla="*/ 163 h 314"/>
                <a:gd name="T70" fmla="*/ 0 w 393"/>
                <a:gd name="T71" fmla="*/ 125 h 314"/>
                <a:gd name="T72" fmla="*/ 2 w 393"/>
                <a:gd name="T73" fmla="*/ 117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3" h="314">
                  <a:moveTo>
                    <a:pt x="2" y="117"/>
                  </a:moveTo>
                  <a:lnTo>
                    <a:pt x="32" y="93"/>
                  </a:lnTo>
                  <a:lnTo>
                    <a:pt x="85" y="91"/>
                  </a:lnTo>
                  <a:lnTo>
                    <a:pt x="110" y="59"/>
                  </a:lnTo>
                  <a:lnTo>
                    <a:pt x="117" y="19"/>
                  </a:lnTo>
                  <a:lnTo>
                    <a:pt x="170" y="0"/>
                  </a:lnTo>
                  <a:lnTo>
                    <a:pt x="178" y="15"/>
                  </a:lnTo>
                  <a:lnTo>
                    <a:pt x="216" y="8"/>
                  </a:lnTo>
                  <a:lnTo>
                    <a:pt x="246" y="53"/>
                  </a:lnTo>
                  <a:lnTo>
                    <a:pt x="231" y="78"/>
                  </a:lnTo>
                  <a:lnTo>
                    <a:pt x="348" y="66"/>
                  </a:lnTo>
                  <a:lnTo>
                    <a:pt x="370" y="76"/>
                  </a:lnTo>
                  <a:lnTo>
                    <a:pt x="393" y="138"/>
                  </a:lnTo>
                  <a:lnTo>
                    <a:pt x="363" y="166"/>
                  </a:lnTo>
                  <a:lnTo>
                    <a:pt x="367" y="204"/>
                  </a:lnTo>
                  <a:lnTo>
                    <a:pt x="325" y="225"/>
                  </a:lnTo>
                  <a:lnTo>
                    <a:pt x="325" y="229"/>
                  </a:lnTo>
                  <a:lnTo>
                    <a:pt x="355" y="282"/>
                  </a:lnTo>
                  <a:lnTo>
                    <a:pt x="327" y="291"/>
                  </a:lnTo>
                  <a:lnTo>
                    <a:pt x="323" y="291"/>
                  </a:lnTo>
                  <a:lnTo>
                    <a:pt x="329" y="302"/>
                  </a:lnTo>
                  <a:lnTo>
                    <a:pt x="314" y="310"/>
                  </a:lnTo>
                  <a:lnTo>
                    <a:pt x="295" y="295"/>
                  </a:lnTo>
                  <a:lnTo>
                    <a:pt x="278" y="314"/>
                  </a:lnTo>
                  <a:lnTo>
                    <a:pt x="248" y="280"/>
                  </a:lnTo>
                  <a:lnTo>
                    <a:pt x="174" y="261"/>
                  </a:lnTo>
                  <a:lnTo>
                    <a:pt x="165" y="242"/>
                  </a:lnTo>
                  <a:lnTo>
                    <a:pt x="134" y="240"/>
                  </a:lnTo>
                  <a:lnTo>
                    <a:pt x="78" y="236"/>
                  </a:lnTo>
                  <a:lnTo>
                    <a:pt x="63" y="255"/>
                  </a:lnTo>
                  <a:lnTo>
                    <a:pt x="44" y="219"/>
                  </a:lnTo>
                  <a:lnTo>
                    <a:pt x="25" y="208"/>
                  </a:lnTo>
                  <a:lnTo>
                    <a:pt x="12" y="221"/>
                  </a:lnTo>
                  <a:lnTo>
                    <a:pt x="2" y="183"/>
                  </a:lnTo>
                  <a:lnTo>
                    <a:pt x="17" y="163"/>
                  </a:lnTo>
                  <a:lnTo>
                    <a:pt x="0" y="125"/>
                  </a:lnTo>
                  <a:lnTo>
                    <a:pt x="2" y="1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0" name="Freeform 93">
              <a:extLst>
                <a:ext uri="{FF2B5EF4-FFF2-40B4-BE49-F238E27FC236}">
                  <a16:creationId xmlns:a16="http://schemas.microsoft.com/office/drawing/2014/main" id="{C2777DE8-DC52-4506-8174-5B8FB830E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9179" y="4839804"/>
              <a:ext cx="492877" cy="463703"/>
            </a:xfrm>
            <a:custGeom>
              <a:avLst/>
              <a:gdLst>
                <a:gd name="T0" fmla="*/ 2 w 321"/>
                <a:gd name="T1" fmla="*/ 174 h 302"/>
                <a:gd name="T2" fmla="*/ 23 w 321"/>
                <a:gd name="T3" fmla="*/ 166 h 302"/>
                <a:gd name="T4" fmla="*/ 123 w 321"/>
                <a:gd name="T5" fmla="*/ 58 h 302"/>
                <a:gd name="T6" fmla="*/ 125 w 321"/>
                <a:gd name="T7" fmla="*/ 4 h 302"/>
                <a:gd name="T8" fmla="*/ 172 w 321"/>
                <a:gd name="T9" fmla="*/ 0 h 302"/>
                <a:gd name="T10" fmla="*/ 208 w 321"/>
                <a:gd name="T11" fmla="*/ 41 h 302"/>
                <a:gd name="T12" fmla="*/ 284 w 321"/>
                <a:gd name="T13" fmla="*/ 24 h 302"/>
                <a:gd name="T14" fmla="*/ 287 w 321"/>
                <a:gd name="T15" fmla="*/ 32 h 302"/>
                <a:gd name="T16" fmla="*/ 312 w 321"/>
                <a:gd name="T17" fmla="*/ 92 h 302"/>
                <a:gd name="T18" fmla="*/ 299 w 321"/>
                <a:gd name="T19" fmla="*/ 126 h 302"/>
                <a:gd name="T20" fmla="*/ 321 w 321"/>
                <a:gd name="T21" fmla="*/ 155 h 302"/>
                <a:gd name="T22" fmla="*/ 225 w 321"/>
                <a:gd name="T23" fmla="*/ 204 h 302"/>
                <a:gd name="T24" fmla="*/ 225 w 321"/>
                <a:gd name="T25" fmla="*/ 211 h 302"/>
                <a:gd name="T26" fmla="*/ 231 w 321"/>
                <a:gd name="T27" fmla="*/ 257 h 302"/>
                <a:gd name="T28" fmla="*/ 168 w 321"/>
                <a:gd name="T29" fmla="*/ 281 h 302"/>
                <a:gd name="T30" fmla="*/ 153 w 321"/>
                <a:gd name="T31" fmla="*/ 268 h 302"/>
                <a:gd name="T32" fmla="*/ 144 w 321"/>
                <a:gd name="T33" fmla="*/ 294 h 302"/>
                <a:gd name="T34" fmla="*/ 125 w 321"/>
                <a:gd name="T35" fmla="*/ 274 h 302"/>
                <a:gd name="T36" fmla="*/ 93 w 321"/>
                <a:gd name="T37" fmla="*/ 302 h 302"/>
                <a:gd name="T38" fmla="*/ 76 w 321"/>
                <a:gd name="T39" fmla="*/ 289 h 302"/>
                <a:gd name="T40" fmla="*/ 78 w 321"/>
                <a:gd name="T41" fmla="*/ 270 h 302"/>
                <a:gd name="T42" fmla="*/ 57 w 321"/>
                <a:gd name="T43" fmla="*/ 277 h 302"/>
                <a:gd name="T44" fmla="*/ 23 w 321"/>
                <a:gd name="T45" fmla="*/ 247 h 302"/>
                <a:gd name="T46" fmla="*/ 36 w 321"/>
                <a:gd name="T47" fmla="*/ 234 h 302"/>
                <a:gd name="T48" fmla="*/ 19 w 321"/>
                <a:gd name="T49" fmla="*/ 236 h 302"/>
                <a:gd name="T50" fmla="*/ 0 w 321"/>
                <a:gd name="T51" fmla="*/ 177 h 302"/>
                <a:gd name="T52" fmla="*/ 2 w 321"/>
                <a:gd name="T53" fmla="*/ 174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302">
                  <a:moveTo>
                    <a:pt x="2" y="174"/>
                  </a:moveTo>
                  <a:lnTo>
                    <a:pt x="23" y="166"/>
                  </a:lnTo>
                  <a:lnTo>
                    <a:pt x="123" y="58"/>
                  </a:lnTo>
                  <a:lnTo>
                    <a:pt x="125" y="4"/>
                  </a:lnTo>
                  <a:lnTo>
                    <a:pt x="172" y="0"/>
                  </a:lnTo>
                  <a:lnTo>
                    <a:pt x="208" y="41"/>
                  </a:lnTo>
                  <a:lnTo>
                    <a:pt x="284" y="24"/>
                  </a:lnTo>
                  <a:lnTo>
                    <a:pt x="287" y="32"/>
                  </a:lnTo>
                  <a:lnTo>
                    <a:pt x="312" y="92"/>
                  </a:lnTo>
                  <a:lnTo>
                    <a:pt x="299" y="126"/>
                  </a:lnTo>
                  <a:lnTo>
                    <a:pt x="321" y="155"/>
                  </a:lnTo>
                  <a:lnTo>
                    <a:pt x="225" y="204"/>
                  </a:lnTo>
                  <a:lnTo>
                    <a:pt x="225" y="211"/>
                  </a:lnTo>
                  <a:lnTo>
                    <a:pt x="231" y="257"/>
                  </a:lnTo>
                  <a:lnTo>
                    <a:pt x="168" y="281"/>
                  </a:lnTo>
                  <a:lnTo>
                    <a:pt x="153" y="268"/>
                  </a:lnTo>
                  <a:lnTo>
                    <a:pt x="144" y="294"/>
                  </a:lnTo>
                  <a:lnTo>
                    <a:pt x="125" y="274"/>
                  </a:lnTo>
                  <a:lnTo>
                    <a:pt x="93" y="302"/>
                  </a:lnTo>
                  <a:lnTo>
                    <a:pt x="76" y="289"/>
                  </a:lnTo>
                  <a:lnTo>
                    <a:pt x="78" y="270"/>
                  </a:lnTo>
                  <a:lnTo>
                    <a:pt x="57" y="277"/>
                  </a:lnTo>
                  <a:lnTo>
                    <a:pt x="23" y="247"/>
                  </a:lnTo>
                  <a:lnTo>
                    <a:pt x="36" y="234"/>
                  </a:lnTo>
                  <a:lnTo>
                    <a:pt x="19" y="236"/>
                  </a:lnTo>
                  <a:lnTo>
                    <a:pt x="0" y="177"/>
                  </a:lnTo>
                  <a:lnTo>
                    <a:pt x="2" y="17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1" name="Freeform 94">
              <a:extLst>
                <a:ext uri="{FF2B5EF4-FFF2-40B4-BE49-F238E27FC236}">
                  <a16:creationId xmlns:a16="http://schemas.microsoft.com/office/drawing/2014/main" id="{EA81CC28-527B-48EB-967F-85E2721D7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602" y="2793061"/>
              <a:ext cx="479057" cy="620318"/>
            </a:xfrm>
            <a:custGeom>
              <a:avLst/>
              <a:gdLst>
                <a:gd name="T0" fmla="*/ 2 w 312"/>
                <a:gd name="T1" fmla="*/ 85 h 404"/>
                <a:gd name="T2" fmla="*/ 51 w 312"/>
                <a:gd name="T3" fmla="*/ 128 h 404"/>
                <a:gd name="T4" fmla="*/ 57 w 312"/>
                <a:gd name="T5" fmla="*/ 155 h 404"/>
                <a:gd name="T6" fmla="*/ 53 w 312"/>
                <a:gd name="T7" fmla="*/ 213 h 404"/>
                <a:gd name="T8" fmla="*/ 10 w 312"/>
                <a:gd name="T9" fmla="*/ 223 h 404"/>
                <a:gd name="T10" fmla="*/ 21 w 312"/>
                <a:gd name="T11" fmla="*/ 245 h 404"/>
                <a:gd name="T12" fmla="*/ 48 w 312"/>
                <a:gd name="T13" fmla="*/ 255 h 404"/>
                <a:gd name="T14" fmla="*/ 53 w 312"/>
                <a:gd name="T15" fmla="*/ 283 h 404"/>
                <a:gd name="T16" fmla="*/ 70 w 312"/>
                <a:gd name="T17" fmla="*/ 281 h 404"/>
                <a:gd name="T18" fmla="*/ 93 w 312"/>
                <a:gd name="T19" fmla="*/ 317 h 404"/>
                <a:gd name="T20" fmla="*/ 76 w 312"/>
                <a:gd name="T21" fmla="*/ 332 h 404"/>
                <a:gd name="T22" fmla="*/ 85 w 312"/>
                <a:gd name="T23" fmla="*/ 362 h 404"/>
                <a:gd name="T24" fmla="*/ 102 w 312"/>
                <a:gd name="T25" fmla="*/ 357 h 404"/>
                <a:gd name="T26" fmla="*/ 125 w 312"/>
                <a:gd name="T27" fmla="*/ 379 h 404"/>
                <a:gd name="T28" fmla="*/ 140 w 312"/>
                <a:gd name="T29" fmla="*/ 368 h 404"/>
                <a:gd name="T30" fmla="*/ 161 w 312"/>
                <a:gd name="T31" fmla="*/ 404 h 404"/>
                <a:gd name="T32" fmla="*/ 189 w 312"/>
                <a:gd name="T33" fmla="*/ 393 h 404"/>
                <a:gd name="T34" fmla="*/ 189 w 312"/>
                <a:gd name="T35" fmla="*/ 387 h 404"/>
                <a:gd name="T36" fmla="*/ 201 w 312"/>
                <a:gd name="T37" fmla="*/ 366 h 404"/>
                <a:gd name="T38" fmla="*/ 267 w 312"/>
                <a:gd name="T39" fmla="*/ 362 h 404"/>
                <a:gd name="T40" fmla="*/ 263 w 312"/>
                <a:gd name="T41" fmla="*/ 315 h 404"/>
                <a:gd name="T42" fmla="*/ 297 w 312"/>
                <a:gd name="T43" fmla="*/ 302 h 404"/>
                <a:gd name="T44" fmla="*/ 312 w 312"/>
                <a:gd name="T45" fmla="*/ 272 h 404"/>
                <a:gd name="T46" fmla="*/ 248 w 312"/>
                <a:gd name="T47" fmla="*/ 217 h 404"/>
                <a:gd name="T48" fmla="*/ 265 w 312"/>
                <a:gd name="T49" fmla="*/ 166 h 404"/>
                <a:gd name="T50" fmla="*/ 187 w 312"/>
                <a:gd name="T51" fmla="*/ 109 h 404"/>
                <a:gd name="T52" fmla="*/ 187 w 312"/>
                <a:gd name="T53" fmla="*/ 106 h 404"/>
                <a:gd name="T54" fmla="*/ 204 w 312"/>
                <a:gd name="T55" fmla="*/ 94 h 404"/>
                <a:gd name="T56" fmla="*/ 102 w 312"/>
                <a:gd name="T57" fmla="*/ 21 h 404"/>
                <a:gd name="T58" fmla="*/ 91 w 312"/>
                <a:gd name="T59" fmla="*/ 28 h 404"/>
                <a:gd name="T60" fmla="*/ 85 w 312"/>
                <a:gd name="T61" fmla="*/ 0 h 404"/>
                <a:gd name="T62" fmla="*/ 36 w 312"/>
                <a:gd name="T63" fmla="*/ 7 h 404"/>
                <a:gd name="T64" fmla="*/ 51 w 312"/>
                <a:gd name="T65" fmla="*/ 19 h 404"/>
                <a:gd name="T66" fmla="*/ 34 w 312"/>
                <a:gd name="T67" fmla="*/ 34 h 404"/>
                <a:gd name="T68" fmla="*/ 46 w 312"/>
                <a:gd name="T69" fmla="*/ 51 h 404"/>
                <a:gd name="T70" fmla="*/ 8 w 312"/>
                <a:gd name="T71" fmla="*/ 58 h 404"/>
                <a:gd name="T72" fmla="*/ 0 w 312"/>
                <a:gd name="T73" fmla="*/ 83 h 404"/>
                <a:gd name="T74" fmla="*/ 2 w 312"/>
                <a:gd name="T75" fmla="*/ 85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2" h="404">
                  <a:moveTo>
                    <a:pt x="2" y="85"/>
                  </a:moveTo>
                  <a:lnTo>
                    <a:pt x="51" y="128"/>
                  </a:lnTo>
                  <a:lnTo>
                    <a:pt x="57" y="155"/>
                  </a:lnTo>
                  <a:lnTo>
                    <a:pt x="53" y="213"/>
                  </a:lnTo>
                  <a:lnTo>
                    <a:pt x="10" y="223"/>
                  </a:lnTo>
                  <a:lnTo>
                    <a:pt x="21" y="245"/>
                  </a:lnTo>
                  <a:lnTo>
                    <a:pt x="48" y="255"/>
                  </a:lnTo>
                  <a:lnTo>
                    <a:pt x="53" y="283"/>
                  </a:lnTo>
                  <a:lnTo>
                    <a:pt x="70" y="281"/>
                  </a:lnTo>
                  <a:lnTo>
                    <a:pt x="93" y="317"/>
                  </a:lnTo>
                  <a:lnTo>
                    <a:pt x="76" y="332"/>
                  </a:lnTo>
                  <a:lnTo>
                    <a:pt x="85" y="362"/>
                  </a:lnTo>
                  <a:lnTo>
                    <a:pt x="102" y="357"/>
                  </a:lnTo>
                  <a:lnTo>
                    <a:pt x="125" y="379"/>
                  </a:lnTo>
                  <a:lnTo>
                    <a:pt x="140" y="368"/>
                  </a:lnTo>
                  <a:lnTo>
                    <a:pt x="161" y="404"/>
                  </a:lnTo>
                  <a:lnTo>
                    <a:pt x="189" y="393"/>
                  </a:lnTo>
                  <a:lnTo>
                    <a:pt x="189" y="387"/>
                  </a:lnTo>
                  <a:lnTo>
                    <a:pt x="201" y="366"/>
                  </a:lnTo>
                  <a:lnTo>
                    <a:pt x="267" y="362"/>
                  </a:lnTo>
                  <a:lnTo>
                    <a:pt x="263" y="315"/>
                  </a:lnTo>
                  <a:lnTo>
                    <a:pt x="297" y="302"/>
                  </a:lnTo>
                  <a:lnTo>
                    <a:pt x="312" y="272"/>
                  </a:lnTo>
                  <a:lnTo>
                    <a:pt x="248" y="217"/>
                  </a:lnTo>
                  <a:lnTo>
                    <a:pt x="265" y="166"/>
                  </a:lnTo>
                  <a:lnTo>
                    <a:pt x="187" y="109"/>
                  </a:lnTo>
                  <a:lnTo>
                    <a:pt x="187" y="106"/>
                  </a:lnTo>
                  <a:lnTo>
                    <a:pt x="204" y="94"/>
                  </a:lnTo>
                  <a:lnTo>
                    <a:pt x="102" y="21"/>
                  </a:lnTo>
                  <a:lnTo>
                    <a:pt x="91" y="28"/>
                  </a:lnTo>
                  <a:lnTo>
                    <a:pt x="85" y="0"/>
                  </a:lnTo>
                  <a:lnTo>
                    <a:pt x="36" y="7"/>
                  </a:lnTo>
                  <a:lnTo>
                    <a:pt x="51" y="19"/>
                  </a:lnTo>
                  <a:lnTo>
                    <a:pt x="34" y="34"/>
                  </a:lnTo>
                  <a:lnTo>
                    <a:pt x="46" y="51"/>
                  </a:lnTo>
                  <a:lnTo>
                    <a:pt x="8" y="58"/>
                  </a:lnTo>
                  <a:lnTo>
                    <a:pt x="0" y="83"/>
                  </a:lnTo>
                  <a:lnTo>
                    <a:pt x="2" y="8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2" name="Freeform 95">
              <a:extLst>
                <a:ext uri="{FF2B5EF4-FFF2-40B4-BE49-F238E27FC236}">
                  <a16:creationId xmlns:a16="http://schemas.microsoft.com/office/drawing/2014/main" id="{3A0BAB86-159C-4F08-8764-7EE7C52FC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1621" y="1494078"/>
              <a:ext cx="568113" cy="554295"/>
            </a:xfrm>
            <a:custGeom>
              <a:avLst/>
              <a:gdLst>
                <a:gd name="T0" fmla="*/ 0 w 370"/>
                <a:gd name="T1" fmla="*/ 227 h 361"/>
                <a:gd name="T2" fmla="*/ 15 w 370"/>
                <a:gd name="T3" fmla="*/ 242 h 361"/>
                <a:gd name="T4" fmla="*/ 38 w 370"/>
                <a:gd name="T5" fmla="*/ 232 h 361"/>
                <a:gd name="T6" fmla="*/ 79 w 370"/>
                <a:gd name="T7" fmla="*/ 244 h 361"/>
                <a:gd name="T8" fmla="*/ 128 w 370"/>
                <a:gd name="T9" fmla="*/ 298 h 361"/>
                <a:gd name="T10" fmla="*/ 198 w 370"/>
                <a:gd name="T11" fmla="*/ 283 h 361"/>
                <a:gd name="T12" fmla="*/ 208 w 370"/>
                <a:gd name="T13" fmla="*/ 296 h 361"/>
                <a:gd name="T14" fmla="*/ 183 w 370"/>
                <a:gd name="T15" fmla="*/ 313 h 361"/>
                <a:gd name="T16" fmla="*/ 191 w 370"/>
                <a:gd name="T17" fmla="*/ 336 h 361"/>
                <a:gd name="T18" fmla="*/ 204 w 370"/>
                <a:gd name="T19" fmla="*/ 317 h 361"/>
                <a:gd name="T20" fmla="*/ 227 w 370"/>
                <a:gd name="T21" fmla="*/ 317 h 361"/>
                <a:gd name="T22" fmla="*/ 255 w 370"/>
                <a:gd name="T23" fmla="*/ 338 h 361"/>
                <a:gd name="T24" fmla="*/ 257 w 370"/>
                <a:gd name="T25" fmla="*/ 323 h 361"/>
                <a:gd name="T26" fmla="*/ 274 w 370"/>
                <a:gd name="T27" fmla="*/ 327 h 361"/>
                <a:gd name="T28" fmla="*/ 268 w 370"/>
                <a:gd name="T29" fmla="*/ 355 h 361"/>
                <a:gd name="T30" fmla="*/ 289 w 370"/>
                <a:gd name="T31" fmla="*/ 340 h 361"/>
                <a:gd name="T32" fmla="*/ 291 w 370"/>
                <a:gd name="T33" fmla="*/ 361 h 361"/>
                <a:gd name="T34" fmla="*/ 347 w 370"/>
                <a:gd name="T35" fmla="*/ 351 h 361"/>
                <a:gd name="T36" fmla="*/ 370 w 370"/>
                <a:gd name="T37" fmla="*/ 285 h 361"/>
                <a:gd name="T38" fmla="*/ 330 w 370"/>
                <a:gd name="T39" fmla="*/ 272 h 361"/>
                <a:gd name="T40" fmla="*/ 347 w 370"/>
                <a:gd name="T41" fmla="*/ 255 h 361"/>
                <a:gd name="T42" fmla="*/ 323 w 370"/>
                <a:gd name="T43" fmla="*/ 221 h 361"/>
                <a:gd name="T44" fmla="*/ 344 w 370"/>
                <a:gd name="T45" fmla="*/ 206 h 361"/>
                <a:gd name="T46" fmla="*/ 319 w 370"/>
                <a:gd name="T47" fmla="*/ 181 h 361"/>
                <a:gd name="T48" fmla="*/ 281 w 370"/>
                <a:gd name="T49" fmla="*/ 174 h 361"/>
                <a:gd name="T50" fmla="*/ 296 w 370"/>
                <a:gd name="T51" fmla="*/ 136 h 361"/>
                <a:gd name="T52" fmla="*/ 283 w 370"/>
                <a:gd name="T53" fmla="*/ 123 h 361"/>
                <a:gd name="T54" fmla="*/ 268 w 370"/>
                <a:gd name="T55" fmla="*/ 147 h 361"/>
                <a:gd name="T56" fmla="*/ 181 w 370"/>
                <a:gd name="T57" fmla="*/ 119 h 361"/>
                <a:gd name="T58" fmla="*/ 174 w 370"/>
                <a:gd name="T59" fmla="*/ 96 h 361"/>
                <a:gd name="T60" fmla="*/ 189 w 370"/>
                <a:gd name="T61" fmla="*/ 85 h 361"/>
                <a:gd name="T62" fmla="*/ 145 w 370"/>
                <a:gd name="T63" fmla="*/ 70 h 361"/>
                <a:gd name="T64" fmla="*/ 119 w 370"/>
                <a:gd name="T65" fmla="*/ 0 h 361"/>
                <a:gd name="T66" fmla="*/ 83 w 370"/>
                <a:gd name="T67" fmla="*/ 2 h 361"/>
                <a:gd name="T68" fmla="*/ 0 w 370"/>
                <a:gd name="T69" fmla="*/ 45 h 361"/>
                <a:gd name="T70" fmla="*/ 0 w 370"/>
                <a:gd name="T71" fmla="*/ 227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70" h="361">
                  <a:moveTo>
                    <a:pt x="0" y="227"/>
                  </a:moveTo>
                  <a:lnTo>
                    <a:pt x="15" y="242"/>
                  </a:lnTo>
                  <a:lnTo>
                    <a:pt x="38" y="232"/>
                  </a:lnTo>
                  <a:lnTo>
                    <a:pt x="79" y="244"/>
                  </a:lnTo>
                  <a:lnTo>
                    <a:pt x="128" y="298"/>
                  </a:lnTo>
                  <a:lnTo>
                    <a:pt x="198" y="283"/>
                  </a:lnTo>
                  <a:lnTo>
                    <a:pt x="208" y="296"/>
                  </a:lnTo>
                  <a:lnTo>
                    <a:pt x="183" y="313"/>
                  </a:lnTo>
                  <a:lnTo>
                    <a:pt x="191" y="336"/>
                  </a:lnTo>
                  <a:lnTo>
                    <a:pt x="204" y="317"/>
                  </a:lnTo>
                  <a:lnTo>
                    <a:pt x="227" y="317"/>
                  </a:lnTo>
                  <a:lnTo>
                    <a:pt x="255" y="338"/>
                  </a:lnTo>
                  <a:lnTo>
                    <a:pt x="257" y="323"/>
                  </a:lnTo>
                  <a:lnTo>
                    <a:pt x="274" y="327"/>
                  </a:lnTo>
                  <a:lnTo>
                    <a:pt x="268" y="355"/>
                  </a:lnTo>
                  <a:lnTo>
                    <a:pt x="289" y="340"/>
                  </a:lnTo>
                  <a:lnTo>
                    <a:pt x="291" y="361"/>
                  </a:lnTo>
                  <a:lnTo>
                    <a:pt x="347" y="351"/>
                  </a:lnTo>
                  <a:lnTo>
                    <a:pt x="370" y="285"/>
                  </a:lnTo>
                  <a:lnTo>
                    <a:pt x="330" y="272"/>
                  </a:lnTo>
                  <a:lnTo>
                    <a:pt x="347" y="255"/>
                  </a:lnTo>
                  <a:lnTo>
                    <a:pt x="323" y="221"/>
                  </a:lnTo>
                  <a:lnTo>
                    <a:pt x="344" y="206"/>
                  </a:lnTo>
                  <a:lnTo>
                    <a:pt x="319" y="181"/>
                  </a:lnTo>
                  <a:lnTo>
                    <a:pt x="281" y="174"/>
                  </a:lnTo>
                  <a:lnTo>
                    <a:pt x="296" y="136"/>
                  </a:lnTo>
                  <a:lnTo>
                    <a:pt x="283" y="123"/>
                  </a:lnTo>
                  <a:lnTo>
                    <a:pt x="268" y="147"/>
                  </a:lnTo>
                  <a:lnTo>
                    <a:pt x="181" y="119"/>
                  </a:lnTo>
                  <a:lnTo>
                    <a:pt x="174" y="96"/>
                  </a:lnTo>
                  <a:lnTo>
                    <a:pt x="189" y="85"/>
                  </a:lnTo>
                  <a:lnTo>
                    <a:pt x="145" y="70"/>
                  </a:lnTo>
                  <a:lnTo>
                    <a:pt x="119" y="0"/>
                  </a:lnTo>
                  <a:lnTo>
                    <a:pt x="83" y="2"/>
                  </a:lnTo>
                  <a:lnTo>
                    <a:pt x="0" y="45"/>
                  </a:lnTo>
                  <a:lnTo>
                    <a:pt x="0" y="227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3" name="Freeform 96">
              <a:extLst>
                <a:ext uri="{FF2B5EF4-FFF2-40B4-BE49-F238E27FC236}">
                  <a16:creationId xmlns:a16="http://schemas.microsoft.com/office/drawing/2014/main" id="{B569611A-2972-4454-9CE8-C29A8525D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5558" y="6037448"/>
              <a:ext cx="600358" cy="327049"/>
            </a:xfrm>
            <a:custGeom>
              <a:avLst/>
              <a:gdLst>
                <a:gd name="T0" fmla="*/ 0 w 391"/>
                <a:gd name="T1" fmla="*/ 151 h 213"/>
                <a:gd name="T2" fmla="*/ 53 w 391"/>
                <a:gd name="T3" fmla="*/ 168 h 213"/>
                <a:gd name="T4" fmla="*/ 77 w 391"/>
                <a:gd name="T5" fmla="*/ 207 h 213"/>
                <a:gd name="T6" fmla="*/ 143 w 391"/>
                <a:gd name="T7" fmla="*/ 175 h 213"/>
                <a:gd name="T8" fmla="*/ 219 w 391"/>
                <a:gd name="T9" fmla="*/ 213 h 213"/>
                <a:gd name="T10" fmla="*/ 255 w 391"/>
                <a:gd name="T11" fmla="*/ 211 h 213"/>
                <a:gd name="T12" fmla="*/ 257 w 391"/>
                <a:gd name="T13" fmla="*/ 187 h 213"/>
                <a:gd name="T14" fmla="*/ 330 w 391"/>
                <a:gd name="T15" fmla="*/ 162 h 213"/>
                <a:gd name="T16" fmla="*/ 391 w 391"/>
                <a:gd name="T17" fmla="*/ 177 h 213"/>
                <a:gd name="T18" fmla="*/ 381 w 391"/>
                <a:gd name="T19" fmla="*/ 149 h 213"/>
                <a:gd name="T20" fmla="*/ 360 w 391"/>
                <a:gd name="T21" fmla="*/ 139 h 213"/>
                <a:gd name="T22" fmla="*/ 355 w 391"/>
                <a:gd name="T23" fmla="*/ 30 h 213"/>
                <a:gd name="T24" fmla="*/ 351 w 391"/>
                <a:gd name="T25" fmla="*/ 28 h 213"/>
                <a:gd name="T26" fmla="*/ 336 w 391"/>
                <a:gd name="T27" fmla="*/ 20 h 213"/>
                <a:gd name="T28" fmla="*/ 308 w 391"/>
                <a:gd name="T29" fmla="*/ 0 h 213"/>
                <a:gd name="T30" fmla="*/ 272 w 391"/>
                <a:gd name="T31" fmla="*/ 32 h 213"/>
                <a:gd name="T32" fmla="*/ 175 w 391"/>
                <a:gd name="T33" fmla="*/ 26 h 213"/>
                <a:gd name="T34" fmla="*/ 164 w 391"/>
                <a:gd name="T35" fmla="*/ 30 h 213"/>
                <a:gd name="T36" fmla="*/ 172 w 391"/>
                <a:gd name="T37" fmla="*/ 66 h 213"/>
                <a:gd name="T38" fmla="*/ 119 w 391"/>
                <a:gd name="T39" fmla="*/ 92 h 213"/>
                <a:gd name="T40" fmla="*/ 75 w 391"/>
                <a:gd name="T41" fmla="*/ 92 h 213"/>
                <a:gd name="T42" fmla="*/ 15 w 391"/>
                <a:gd name="T43" fmla="*/ 124 h 213"/>
                <a:gd name="T44" fmla="*/ 0 w 391"/>
                <a:gd name="T45" fmla="*/ 15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1" h="213">
                  <a:moveTo>
                    <a:pt x="0" y="151"/>
                  </a:moveTo>
                  <a:lnTo>
                    <a:pt x="53" y="168"/>
                  </a:lnTo>
                  <a:lnTo>
                    <a:pt x="77" y="207"/>
                  </a:lnTo>
                  <a:lnTo>
                    <a:pt x="143" y="175"/>
                  </a:lnTo>
                  <a:lnTo>
                    <a:pt x="219" y="213"/>
                  </a:lnTo>
                  <a:lnTo>
                    <a:pt x="255" y="211"/>
                  </a:lnTo>
                  <a:lnTo>
                    <a:pt x="257" y="187"/>
                  </a:lnTo>
                  <a:lnTo>
                    <a:pt x="330" y="162"/>
                  </a:lnTo>
                  <a:lnTo>
                    <a:pt x="391" y="177"/>
                  </a:lnTo>
                  <a:lnTo>
                    <a:pt x="381" y="149"/>
                  </a:lnTo>
                  <a:lnTo>
                    <a:pt x="360" y="139"/>
                  </a:lnTo>
                  <a:lnTo>
                    <a:pt x="355" y="30"/>
                  </a:lnTo>
                  <a:lnTo>
                    <a:pt x="351" y="28"/>
                  </a:lnTo>
                  <a:lnTo>
                    <a:pt x="336" y="20"/>
                  </a:lnTo>
                  <a:lnTo>
                    <a:pt x="308" y="0"/>
                  </a:lnTo>
                  <a:lnTo>
                    <a:pt x="272" y="32"/>
                  </a:lnTo>
                  <a:lnTo>
                    <a:pt x="175" y="26"/>
                  </a:lnTo>
                  <a:lnTo>
                    <a:pt x="164" y="30"/>
                  </a:lnTo>
                  <a:lnTo>
                    <a:pt x="172" y="66"/>
                  </a:lnTo>
                  <a:lnTo>
                    <a:pt x="119" y="92"/>
                  </a:lnTo>
                  <a:lnTo>
                    <a:pt x="75" y="92"/>
                  </a:lnTo>
                  <a:lnTo>
                    <a:pt x="15" y="124"/>
                  </a:lnTo>
                  <a:lnTo>
                    <a:pt x="0" y="15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4" name="Freeform 97">
              <a:extLst>
                <a:ext uri="{FF2B5EF4-FFF2-40B4-BE49-F238E27FC236}">
                  <a16:creationId xmlns:a16="http://schemas.microsoft.com/office/drawing/2014/main" id="{D7FFFE87-A1FD-465D-B1F4-D61C2BC7A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6236" y="2545856"/>
              <a:ext cx="474451" cy="531262"/>
            </a:xfrm>
            <a:custGeom>
              <a:avLst/>
              <a:gdLst>
                <a:gd name="T0" fmla="*/ 0 w 309"/>
                <a:gd name="T1" fmla="*/ 57 h 346"/>
                <a:gd name="T2" fmla="*/ 19 w 309"/>
                <a:gd name="T3" fmla="*/ 46 h 346"/>
                <a:gd name="T4" fmla="*/ 30 w 309"/>
                <a:gd name="T5" fmla="*/ 4 h 346"/>
                <a:gd name="T6" fmla="*/ 43 w 309"/>
                <a:gd name="T7" fmla="*/ 27 h 346"/>
                <a:gd name="T8" fmla="*/ 90 w 309"/>
                <a:gd name="T9" fmla="*/ 48 h 346"/>
                <a:gd name="T10" fmla="*/ 143 w 309"/>
                <a:gd name="T11" fmla="*/ 48 h 346"/>
                <a:gd name="T12" fmla="*/ 164 w 309"/>
                <a:gd name="T13" fmla="*/ 6 h 346"/>
                <a:gd name="T14" fmla="*/ 234 w 309"/>
                <a:gd name="T15" fmla="*/ 0 h 346"/>
                <a:gd name="T16" fmla="*/ 309 w 309"/>
                <a:gd name="T17" fmla="*/ 27 h 346"/>
                <a:gd name="T18" fmla="*/ 281 w 309"/>
                <a:gd name="T19" fmla="*/ 85 h 346"/>
                <a:gd name="T20" fmla="*/ 221 w 309"/>
                <a:gd name="T21" fmla="*/ 151 h 346"/>
                <a:gd name="T22" fmla="*/ 204 w 309"/>
                <a:gd name="T23" fmla="*/ 267 h 346"/>
                <a:gd name="T24" fmla="*/ 166 w 309"/>
                <a:gd name="T25" fmla="*/ 346 h 346"/>
                <a:gd name="T26" fmla="*/ 73 w 309"/>
                <a:gd name="T27" fmla="*/ 280 h 346"/>
                <a:gd name="T28" fmla="*/ 43 w 309"/>
                <a:gd name="T29" fmla="*/ 267 h 346"/>
                <a:gd name="T30" fmla="*/ 49 w 309"/>
                <a:gd name="T31" fmla="*/ 208 h 346"/>
                <a:gd name="T32" fmla="*/ 36 w 309"/>
                <a:gd name="T33" fmla="*/ 202 h 346"/>
                <a:gd name="T34" fmla="*/ 79 w 309"/>
                <a:gd name="T35" fmla="*/ 182 h 346"/>
                <a:gd name="T36" fmla="*/ 90 w 309"/>
                <a:gd name="T37" fmla="*/ 153 h 346"/>
                <a:gd name="T38" fmla="*/ 75 w 309"/>
                <a:gd name="T39" fmla="*/ 142 h 346"/>
                <a:gd name="T40" fmla="*/ 92 w 309"/>
                <a:gd name="T41" fmla="*/ 112 h 346"/>
                <a:gd name="T42" fmla="*/ 60 w 309"/>
                <a:gd name="T43" fmla="*/ 85 h 346"/>
                <a:gd name="T44" fmla="*/ 34 w 309"/>
                <a:gd name="T45" fmla="*/ 108 h 346"/>
                <a:gd name="T46" fmla="*/ 36 w 309"/>
                <a:gd name="T47" fmla="*/ 80 h 346"/>
                <a:gd name="T48" fmla="*/ 0 w 309"/>
                <a:gd name="T49" fmla="*/ 59 h 346"/>
                <a:gd name="T50" fmla="*/ 0 w 309"/>
                <a:gd name="T51" fmla="*/ 57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9" h="346">
                  <a:moveTo>
                    <a:pt x="0" y="57"/>
                  </a:moveTo>
                  <a:lnTo>
                    <a:pt x="19" y="46"/>
                  </a:lnTo>
                  <a:lnTo>
                    <a:pt x="30" y="4"/>
                  </a:lnTo>
                  <a:lnTo>
                    <a:pt x="43" y="27"/>
                  </a:lnTo>
                  <a:lnTo>
                    <a:pt x="90" y="48"/>
                  </a:lnTo>
                  <a:lnTo>
                    <a:pt x="143" y="48"/>
                  </a:lnTo>
                  <a:lnTo>
                    <a:pt x="164" y="6"/>
                  </a:lnTo>
                  <a:lnTo>
                    <a:pt x="234" y="0"/>
                  </a:lnTo>
                  <a:lnTo>
                    <a:pt x="309" y="27"/>
                  </a:lnTo>
                  <a:lnTo>
                    <a:pt x="281" y="85"/>
                  </a:lnTo>
                  <a:lnTo>
                    <a:pt x="221" y="151"/>
                  </a:lnTo>
                  <a:lnTo>
                    <a:pt x="204" y="267"/>
                  </a:lnTo>
                  <a:lnTo>
                    <a:pt x="166" y="346"/>
                  </a:lnTo>
                  <a:lnTo>
                    <a:pt x="73" y="280"/>
                  </a:lnTo>
                  <a:lnTo>
                    <a:pt x="43" y="267"/>
                  </a:lnTo>
                  <a:lnTo>
                    <a:pt x="49" y="208"/>
                  </a:lnTo>
                  <a:lnTo>
                    <a:pt x="36" y="202"/>
                  </a:lnTo>
                  <a:lnTo>
                    <a:pt x="79" y="182"/>
                  </a:lnTo>
                  <a:lnTo>
                    <a:pt x="90" y="153"/>
                  </a:lnTo>
                  <a:lnTo>
                    <a:pt x="75" y="142"/>
                  </a:lnTo>
                  <a:lnTo>
                    <a:pt x="92" y="112"/>
                  </a:lnTo>
                  <a:lnTo>
                    <a:pt x="60" y="85"/>
                  </a:lnTo>
                  <a:lnTo>
                    <a:pt x="34" y="108"/>
                  </a:lnTo>
                  <a:lnTo>
                    <a:pt x="36" y="80"/>
                  </a:lnTo>
                  <a:lnTo>
                    <a:pt x="0" y="59"/>
                  </a:lnTo>
                  <a:lnTo>
                    <a:pt x="0" y="5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5" name="Freeform 98">
              <a:extLst>
                <a:ext uri="{FF2B5EF4-FFF2-40B4-BE49-F238E27FC236}">
                  <a16:creationId xmlns:a16="http://schemas.microsoft.com/office/drawing/2014/main" id="{D8131A30-111D-4694-B4C5-888F3D243D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4659" y="4059800"/>
              <a:ext cx="486735" cy="405356"/>
            </a:xfrm>
            <a:custGeom>
              <a:avLst/>
              <a:gdLst>
                <a:gd name="T0" fmla="*/ 8 w 317"/>
                <a:gd name="T1" fmla="*/ 174 h 264"/>
                <a:gd name="T2" fmla="*/ 53 w 317"/>
                <a:gd name="T3" fmla="*/ 242 h 264"/>
                <a:gd name="T4" fmla="*/ 96 w 317"/>
                <a:gd name="T5" fmla="*/ 238 h 264"/>
                <a:gd name="T6" fmla="*/ 121 w 317"/>
                <a:gd name="T7" fmla="*/ 264 h 264"/>
                <a:gd name="T8" fmla="*/ 138 w 317"/>
                <a:gd name="T9" fmla="*/ 259 h 264"/>
                <a:gd name="T10" fmla="*/ 183 w 317"/>
                <a:gd name="T11" fmla="*/ 181 h 264"/>
                <a:gd name="T12" fmla="*/ 232 w 317"/>
                <a:gd name="T13" fmla="*/ 242 h 264"/>
                <a:gd name="T14" fmla="*/ 257 w 317"/>
                <a:gd name="T15" fmla="*/ 223 h 264"/>
                <a:gd name="T16" fmla="*/ 261 w 317"/>
                <a:gd name="T17" fmla="*/ 202 h 264"/>
                <a:gd name="T18" fmla="*/ 293 w 317"/>
                <a:gd name="T19" fmla="*/ 198 h 264"/>
                <a:gd name="T20" fmla="*/ 317 w 317"/>
                <a:gd name="T21" fmla="*/ 168 h 264"/>
                <a:gd name="T22" fmla="*/ 289 w 317"/>
                <a:gd name="T23" fmla="*/ 119 h 264"/>
                <a:gd name="T24" fmla="*/ 272 w 317"/>
                <a:gd name="T25" fmla="*/ 123 h 264"/>
                <a:gd name="T26" fmla="*/ 276 w 317"/>
                <a:gd name="T27" fmla="*/ 98 h 264"/>
                <a:gd name="T28" fmla="*/ 251 w 317"/>
                <a:gd name="T29" fmla="*/ 91 h 264"/>
                <a:gd name="T30" fmla="*/ 266 w 317"/>
                <a:gd name="T31" fmla="*/ 38 h 264"/>
                <a:gd name="T32" fmla="*/ 242 w 317"/>
                <a:gd name="T33" fmla="*/ 17 h 264"/>
                <a:gd name="T34" fmla="*/ 249 w 317"/>
                <a:gd name="T35" fmla="*/ 0 h 264"/>
                <a:gd name="T36" fmla="*/ 174 w 317"/>
                <a:gd name="T37" fmla="*/ 0 h 264"/>
                <a:gd name="T38" fmla="*/ 145 w 317"/>
                <a:gd name="T39" fmla="*/ 23 h 264"/>
                <a:gd name="T40" fmla="*/ 128 w 317"/>
                <a:gd name="T41" fmla="*/ 13 h 264"/>
                <a:gd name="T42" fmla="*/ 108 w 317"/>
                <a:gd name="T43" fmla="*/ 47 h 264"/>
                <a:gd name="T44" fmla="*/ 123 w 317"/>
                <a:gd name="T45" fmla="*/ 66 h 264"/>
                <a:gd name="T46" fmla="*/ 83 w 317"/>
                <a:gd name="T47" fmla="*/ 98 h 264"/>
                <a:gd name="T48" fmla="*/ 38 w 317"/>
                <a:gd name="T49" fmla="*/ 102 h 264"/>
                <a:gd name="T50" fmla="*/ 4 w 317"/>
                <a:gd name="T51" fmla="*/ 115 h 264"/>
                <a:gd name="T52" fmla="*/ 0 w 317"/>
                <a:gd name="T53" fmla="*/ 136 h 264"/>
                <a:gd name="T54" fmla="*/ 2 w 317"/>
                <a:gd name="T55" fmla="*/ 14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7" h="264">
                  <a:moveTo>
                    <a:pt x="8" y="174"/>
                  </a:moveTo>
                  <a:lnTo>
                    <a:pt x="53" y="242"/>
                  </a:lnTo>
                  <a:lnTo>
                    <a:pt x="96" y="238"/>
                  </a:lnTo>
                  <a:lnTo>
                    <a:pt x="121" y="264"/>
                  </a:lnTo>
                  <a:lnTo>
                    <a:pt x="138" y="259"/>
                  </a:lnTo>
                  <a:lnTo>
                    <a:pt x="183" y="181"/>
                  </a:lnTo>
                  <a:lnTo>
                    <a:pt x="232" y="242"/>
                  </a:lnTo>
                  <a:lnTo>
                    <a:pt x="257" y="223"/>
                  </a:lnTo>
                  <a:lnTo>
                    <a:pt x="261" y="202"/>
                  </a:lnTo>
                  <a:lnTo>
                    <a:pt x="293" y="198"/>
                  </a:lnTo>
                  <a:lnTo>
                    <a:pt x="317" y="168"/>
                  </a:lnTo>
                  <a:lnTo>
                    <a:pt x="289" y="119"/>
                  </a:lnTo>
                  <a:lnTo>
                    <a:pt x="272" y="123"/>
                  </a:lnTo>
                  <a:lnTo>
                    <a:pt x="276" y="98"/>
                  </a:lnTo>
                  <a:lnTo>
                    <a:pt x="251" y="91"/>
                  </a:lnTo>
                  <a:lnTo>
                    <a:pt x="266" y="38"/>
                  </a:lnTo>
                  <a:lnTo>
                    <a:pt x="242" y="17"/>
                  </a:lnTo>
                  <a:lnTo>
                    <a:pt x="249" y="0"/>
                  </a:lnTo>
                  <a:lnTo>
                    <a:pt x="174" y="0"/>
                  </a:lnTo>
                  <a:lnTo>
                    <a:pt x="145" y="23"/>
                  </a:lnTo>
                  <a:lnTo>
                    <a:pt x="128" y="13"/>
                  </a:lnTo>
                  <a:lnTo>
                    <a:pt x="108" y="47"/>
                  </a:lnTo>
                  <a:lnTo>
                    <a:pt x="123" y="66"/>
                  </a:lnTo>
                  <a:lnTo>
                    <a:pt x="83" y="98"/>
                  </a:lnTo>
                  <a:lnTo>
                    <a:pt x="38" y="102"/>
                  </a:lnTo>
                  <a:lnTo>
                    <a:pt x="4" y="115"/>
                  </a:lnTo>
                  <a:lnTo>
                    <a:pt x="0" y="136"/>
                  </a:lnTo>
                  <a:lnTo>
                    <a:pt x="2" y="1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6" name="Freeform 99">
              <a:extLst>
                <a:ext uri="{FF2B5EF4-FFF2-40B4-BE49-F238E27FC236}">
                  <a16:creationId xmlns:a16="http://schemas.microsoft.com/office/drawing/2014/main" id="{5F37F350-58F5-48DB-99E5-ACA84543A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1858" y="2558139"/>
              <a:ext cx="431459" cy="551224"/>
            </a:xfrm>
            <a:custGeom>
              <a:avLst/>
              <a:gdLst>
                <a:gd name="T0" fmla="*/ 0 w 281"/>
                <a:gd name="T1" fmla="*/ 289 h 359"/>
                <a:gd name="T2" fmla="*/ 30 w 281"/>
                <a:gd name="T3" fmla="*/ 334 h 359"/>
                <a:gd name="T4" fmla="*/ 15 w 281"/>
                <a:gd name="T5" fmla="*/ 359 h 359"/>
                <a:gd name="T6" fmla="*/ 132 w 281"/>
                <a:gd name="T7" fmla="*/ 347 h 359"/>
                <a:gd name="T8" fmla="*/ 158 w 281"/>
                <a:gd name="T9" fmla="*/ 315 h 359"/>
                <a:gd name="T10" fmla="*/ 158 w 281"/>
                <a:gd name="T11" fmla="*/ 276 h 359"/>
                <a:gd name="T12" fmla="*/ 247 w 281"/>
                <a:gd name="T13" fmla="*/ 264 h 359"/>
                <a:gd name="T14" fmla="*/ 245 w 281"/>
                <a:gd name="T15" fmla="*/ 242 h 359"/>
                <a:gd name="T16" fmla="*/ 241 w 281"/>
                <a:gd name="T17" fmla="*/ 232 h 359"/>
                <a:gd name="T18" fmla="*/ 281 w 281"/>
                <a:gd name="T19" fmla="*/ 183 h 359"/>
                <a:gd name="T20" fmla="*/ 258 w 281"/>
                <a:gd name="T21" fmla="*/ 174 h 359"/>
                <a:gd name="T22" fmla="*/ 260 w 281"/>
                <a:gd name="T23" fmla="*/ 138 h 359"/>
                <a:gd name="T24" fmla="*/ 245 w 281"/>
                <a:gd name="T25" fmla="*/ 132 h 359"/>
                <a:gd name="T26" fmla="*/ 245 w 281"/>
                <a:gd name="T27" fmla="*/ 128 h 359"/>
                <a:gd name="T28" fmla="*/ 264 w 281"/>
                <a:gd name="T29" fmla="*/ 96 h 359"/>
                <a:gd name="T30" fmla="*/ 211 w 281"/>
                <a:gd name="T31" fmla="*/ 64 h 359"/>
                <a:gd name="T32" fmla="*/ 188 w 281"/>
                <a:gd name="T33" fmla="*/ 34 h 359"/>
                <a:gd name="T34" fmla="*/ 188 w 281"/>
                <a:gd name="T35" fmla="*/ 6 h 359"/>
                <a:gd name="T36" fmla="*/ 166 w 281"/>
                <a:gd name="T37" fmla="*/ 0 h 359"/>
                <a:gd name="T38" fmla="*/ 145 w 281"/>
                <a:gd name="T39" fmla="*/ 15 h 359"/>
                <a:gd name="T40" fmla="*/ 49 w 281"/>
                <a:gd name="T41" fmla="*/ 13 h 359"/>
                <a:gd name="T42" fmla="*/ 41 w 281"/>
                <a:gd name="T43" fmla="*/ 36 h 359"/>
                <a:gd name="T44" fmla="*/ 49 w 281"/>
                <a:gd name="T45" fmla="*/ 111 h 359"/>
                <a:gd name="T46" fmla="*/ 45 w 281"/>
                <a:gd name="T47" fmla="*/ 153 h 359"/>
                <a:gd name="T48" fmla="*/ 26 w 281"/>
                <a:gd name="T49" fmla="*/ 217 h 359"/>
                <a:gd name="T50" fmla="*/ 34 w 281"/>
                <a:gd name="T51" fmla="*/ 257 h 359"/>
                <a:gd name="T52" fmla="*/ 0 w 281"/>
                <a:gd name="T53" fmla="*/ 283 h 359"/>
                <a:gd name="T54" fmla="*/ 0 w 281"/>
                <a:gd name="T55" fmla="*/ 28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81" h="359">
                  <a:moveTo>
                    <a:pt x="0" y="289"/>
                  </a:moveTo>
                  <a:lnTo>
                    <a:pt x="30" y="334"/>
                  </a:lnTo>
                  <a:lnTo>
                    <a:pt x="15" y="359"/>
                  </a:lnTo>
                  <a:lnTo>
                    <a:pt x="132" y="347"/>
                  </a:lnTo>
                  <a:lnTo>
                    <a:pt x="158" y="315"/>
                  </a:lnTo>
                  <a:lnTo>
                    <a:pt x="158" y="276"/>
                  </a:lnTo>
                  <a:lnTo>
                    <a:pt x="247" y="264"/>
                  </a:lnTo>
                  <a:lnTo>
                    <a:pt x="245" y="242"/>
                  </a:lnTo>
                  <a:lnTo>
                    <a:pt x="241" y="232"/>
                  </a:lnTo>
                  <a:lnTo>
                    <a:pt x="281" y="183"/>
                  </a:lnTo>
                  <a:lnTo>
                    <a:pt x="258" y="174"/>
                  </a:lnTo>
                  <a:lnTo>
                    <a:pt x="260" y="138"/>
                  </a:lnTo>
                  <a:lnTo>
                    <a:pt x="245" y="132"/>
                  </a:lnTo>
                  <a:lnTo>
                    <a:pt x="245" y="128"/>
                  </a:lnTo>
                  <a:lnTo>
                    <a:pt x="264" y="96"/>
                  </a:lnTo>
                  <a:lnTo>
                    <a:pt x="211" y="64"/>
                  </a:lnTo>
                  <a:lnTo>
                    <a:pt x="188" y="34"/>
                  </a:lnTo>
                  <a:lnTo>
                    <a:pt x="188" y="6"/>
                  </a:lnTo>
                  <a:lnTo>
                    <a:pt x="166" y="0"/>
                  </a:lnTo>
                  <a:lnTo>
                    <a:pt x="145" y="15"/>
                  </a:lnTo>
                  <a:lnTo>
                    <a:pt x="49" y="13"/>
                  </a:lnTo>
                  <a:lnTo>
                    <a:pt x="41" y="36"/>
                  </a:lnTo>
                  <a:lnTo>
                    <a:pt x="49" y="111"/>
                  </a:lnTo>
                  <a:lnTo>
                    <a:pt x="45" y="153"/>
                  </a:lnTo>
                  <a:lnTo>
                    <a:pt x="26" y="217"/>
                  </a:lnTo>
                  <a:lnTo>
                    <a:pt x="34" y="257"/>
                  </a:lnTo>
                  <a:lnTo>
                    <a:pt x="0" y="283"/>
                  </a:lnTo>
                  <a:lnTo>
                    <a:pt x="0" y="289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7" name="Freeform 100">
              <a:extLst>
                <a:ext uri="{FF2B5EF4-FFF2-40B4-BE49-F238E27FC236}">
                  <a16:creationId xmlns:a16="http://schemas.microsoft.com/office/drawing/2014/main" id="{E1F14263-931B-4F56-9F75-E560C9873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841" y="5518469"/>
              <a:ext cx="518979" cy="437601"/>
            </a:xfrm>
            <a:custGeom>
              <a:avLst/>
              <a:gdLst>
                <a:gd name="T0" fmla="*/ 0 w 338"/>
                <a:gd name="T1" fmla="*/ 92 h 285"/>
                <a:gd name="T2" fmla="*/ 17 w 338"/>
                <a:gd name="T3" fmla="*/ 98 h 285"/>
                <a:gd name="T4" fmla="*/ 11 w 338"/>
                <a:gd name="T5" fmla="*/ 124 h 285"/>
                <a:gd name="T6" fmla="*/ 34 w 338"/>
                <a:gd name="T7" fmla="*/ 145 h 285"/>
                <a:gd name="T8" fmla="*/ 7 w 338"/>
                <a:gd name="T9" fmla="*/ 153 h 285"/>
                <a:gd name="T10" fmla="*/ 7 w 338"/>
                <a:gd name="T11" fmla="*/ 183 h 285"/>
                <a:gd name="T12" fmla="*/ 30 w 338"/>
                <a:gd name="T13" fmla="*/ 202 h 285"/>
                <a:gd name="T14" fmla="*/ 7 w 338"/>
                <a:gd name="T15" fmla="*/ 234 h 285"/>
                <a:gd name="T16" fmla="*/ 43 w 338"/>
                <a:gd name="T17" fmla="*/ 258 h 285"/>
                <a:gd name="T18" fmla="*/ 49 w 338"/>
                <a:gd name="T19" fmla="*/ 279 h 285"/>
                <a:gd name="T20" fmla="*/ 83 w 338"/>
                <a:gd name="T21" fmla="*/ 272 h 285"/>
                <a:gd name="T22" fmla="*/ 73 w 338"/>
                <a:gd name="T23" fmla="*/ 253 h 285"/>
                <a:gd name="T24" fmla="*/ 130 w 338"/>
                <a:gd name="T25" fmla="*/ 266 h 285"/>
                <a:gd name="T26" fmla="*/ 124 w 338"/>
                <a:gd name="T27" fmla="*/ 285 h 285"/>
                <a:gd name="T28" fmla="*/ 137 w 338"/>
                <a:gd name="T29" fmla="*/ 285 h 285"/>
                <a:gd name="T30" fmla="*/ 149 w 338"/>
                <a:gd name="T31" fmla="*/ 253 h 285"/>
                <a:gd name="T32" fmla="*/ 192 w 338"/>
                <a:gd name="T33" fmla="*/ 262 h 285"/>
                <a:gd name="T34" fmla="*/ 194 w 338"/>
                <a:gd name="T35" fmla="*/ 243 h 285"/>
                <a:gd name="T36" fmla="*/ 268 w 338"/>
                <a:gd name="T37" fmla="*/ 226 h 285"/>
                <a:gd name="T38" fmla="*/ 281 w 338"/>
                <a:gd name="T39" fmla="*/ 192 h 285"/>
                <a:gd name="T40" fmla="*/ 251 w 338"/>
                <a:gd name="T41" fmla="*/ 187 h 285"/>
                <a:gd name="T42" fmla="*/ 290 w 338"/>
                <a:gd name="T43" fmla="*/ 136 h 285"/>
                <a:gd name="T44" fmla="*/ 328 w 338"/>
                <a:gd name="T45" fmla="*/ 132 h 285"/>
                <a:gd name="T46" fmla="*/ 338 w 338"/>
                <a:gd name="T47" fmla="*/ 111 h 285"/>
                <a:gd name="T48" fmla="*/ 324 w 338"/>
                <a:gd name="T49" fmla="*/ 94 h 285"/>
                <a:gd name="T50" fmla="*/ 332 w 338"/>
                <a:gd name="T51" fmla="*/ 68 h 285"/>
                <a:gd name="T52" fmla="*/ 302 w 338"/>
                <a:gd name="T53" fmla="*/ 58 h 285"/>
                <a:gd name="T54" fmla="*/ 287 w 338"/>
                <a:gd name="T55" fmla="*/ 19 h 285"/>
                <a:gd name="T56" fmla="*/ 256 w 338"/>
                <a:gd name="T57" fmla="*/ 5 h 285"/>
                <a:gd name="T58" fmla="*/ 256 w 338"/>
                <a:gd name="T59" fmla="*/ 2 h 285"/>
                <a:gd name="T60" fmla="*/ 205 w 338"/>
                <a:gd name="T61" fmla="*/ 0 h 285"/>
                <a:gd name="T62" fmla="*/ 181 w 338"/>
                <a:gd name="T63" fmla="*/ 24 h 285"/>
                <a:gd name="T64" fmla="*/ 145 w 338"/>
                <a:gd name="T65" fmla="*/ 2 h 285"/>
                <a:gd name="T66" fmla="*/ 96 w 338"/>
                <a:gd name="T67" fmla="*/ 51 h 285"/>
                <a:gd name="T68" fmla="*/ 68 w 338"/>
                <a:gd name="T69" fmla="*/ 22 h 285"/>
                <a:gd name="T70" fmla="*/ 24 w 338"/>
                <a:gd name="T71" fmla="*/ 30 h 285"/>
                <a:gd name="T72" fmla="*/ 24 w 338"/>
                <a:gd name="T73" fmla="*/ 34 h 285"/>
                <a:gd name="T74" fmla="*/ 34 w 338"/>
                <a:gd name="T75" fmla="*/ 58 h 285"/>
                <a:gd name="T76" fmla="*/ 15 w 338"/>
                <a:gd name="T77" fmla="*/ 60 h 285"/>
                <a:gd name="T78" fmla="*/ 0 w 338"/>
                <a:gd name="T79" fmla="*/ 88 h 285"/>
                <a:gd name="T80" fmla="*/ 0 w 338"/>
                <a:gd name="T81" fmla="*/ 92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8" h="285">
                  <a:moveTo>
                    <a:pt x="0" y="92"/>
                  </a:moveTo>
                  <a:lnTo>
                    <a:pt x="17" y="98"/>
                  </a:lnTo>
                  <a:lnTo>
                    <a:pt x="11" y="124"/>
                  </a:lnTo>
                  <a:lnTo>
                    <a:pt x="34" y="145"/>
                  </a:lnTo>
                  <a:lnTo>
                    <a:pt x="7" y="153"/>
                  </a:lnTo>
                  <a:lnTo>
                    <a:pt x="7" y="183"/>
                  </a:lnTo>
                  <a:lnTo>
                    <a:pt x="30" y="202"/>
                  </a:lnTo>
                  <a:lnTo>
                    <a:pt x="7" y="234"/>
                  </a:lnTo>
                  <a:lnTo>
                    <a:pt x="43" y="258"/>
                  </a:lnTo>
                  <a:lnTo>
                    <a:pt x="49" y="279"/>
                  </a:lnTo>
                  <a:lnTo>
                    <a:pt x="83" y="272"/>
                  </a:lnTo>
                  <a:lnTo>
                    <a:pt x="73" y="253"/>
                  </a:lnTo>
                  <a:lnTo>
                    <a:pt x="130" y="266"/>
                  </a:lnTo>
                  <a:lnTo>
                    <a:pt x="124" y="285"/>
                  </a:lnTo>
                  <a:lnTo>
                    <a:pt x="137" y="285"/>
                  </a:lnTo>
                  <a:lnTo>
                    <a:pt x="149" y="253"/>
                  </a:lnTo>
                  <a:lnTo>
                    <a:pt x="192" y="262"/>
                  </a:lnTo>
                  <a:lnTo>
                    <a:pt x="194" y="243"/>
                  </a:lnTo>
                  <a:lnTo>
                    <a:pt x="268" y="226"/>
                  </a:lnTo>
                  <a:lnTo>
                    <a:pt x="281" y="192"/>
                  </a:lnTo>
                  <a:lnTo>
                    <a:pt x="251" y="187"/>
                  </a:lnTo>
                  <a:lnTo>
                    <a:pt x="290" y="136"/>
                  </a:lnTo>
                  <a:lnTo>
                    <a:pt x="328" y="132"/>
                  </a:lnTo>
                  <a:lnTo>
                    <a:pt x="338" y="111"/>
                  </a:lnTo>
                  <a:lnTo>
                    <a:pt x="324" y="94"/>
                  </a:lnTo>
                  <a:lnTo>
                    <a:pt x="332" y="68"/>
                  </a:lnTo>
                  <a:lnTo>
                    <a:pt x="302" y="58"/>
                  </a:lnTo>
                  <a:lnTo>
                    <a:pt x="287" y="19"/>
                  </a:lnTo>
                  <a:lnTo>
                    <a:pt x="256" y="5"/>
                  </a:lnTo>
                  <a:lnTo>
                    <a:pt x="256" y="2"/>
                  </a:lnTo>
                  <a:lnTo>
                    <a:pt x="205" y="0"/>
                  </a:lnTo>
                  <a:lnTo>
                    <a:pt x="181" y="24"/>
                  </a:lnTo>
                  <a:lnTo>
                    <a:pt x="145" y="2"/>
                  </a:lnTo>
                  <a:lnTo>
                    <a:pt x="96" y="51"/>
                  </a:lnTo>
                  <a:lnTo>
                    <a:pt x="68" y="22"/>
                  </a:lnTo>
                  <a:lnTo>
                    <a:pt x="24" y="30"/>
                  </a:lnTo>
                  <a:lnTo>
                    <a:pt x="24" y="34"/>
                  </a:lnTo>
                  <a:lnTo>
                    <a:pt x="34" y="58"/>
                  </a:lnTo>
                  <a:lnTo>
                    <a:pt x="15" y="60"/>
                  </a:lnTo>
                  <a:lnTo>
                    <a:pt x="0" y="88"/>
                  </a:lnTo>
                  <a:lnTo>
                    <a:pt x="0" y="92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8" name="Freeform 101">
              <a:extLst>
                <a:ext uri="{FF2B5EF4-FFF2-40B4-BE49-F238E27FC236}">
                  <a16:creationId xmlns:a16="http://schemas.microsoft.com/office/drawing/2014/main" id="{595721FB-498C-4120-B987-2E56E650B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3779" y="3645231"/>
              <a:ext cx="606499" cy="460632"/>
            </a:xfrm>
            <a:custGeom>
              <a:avLst/>
              <a:gdLst>
                <a:gd name="T0" fmla="*/ 49 w 395"/>
                <a:gd name="T1" fmla="*/ 6 h 300"/>
                <a:gd name="T2" fmla="*/ 106 w 395"/>
                <a:gd name="T3" fmla="*/ 62 h 300"/>
                <a:gd name="T4" fmla="*/ 151 w 395"/>
                <a:gd name="T5" fmla="*/ 74 h 300"/>
                <a:gd name="T6" fmla="*/ 163 w 395"/>
                <a:gd name="T7" fmla="*/ 68 h 300"/>
                <a:gd name="T8" fmla="*/ 153 w 395"/>
                <a:gd name="T9" fmla="*/ 17 h 300"/>
                <a:gd name="T10" fmla="*/ 168 w 395"/>
                <a:gd name="T11" fmla="*/ 11 h 300"/>
                <a:gd name="T12" fmla="*/ 174 w 395"/>
                <a:gd name="T13" fmla="*/ 53 h 300"/>
                <a:gd name="T14" fmla="*/ 225 w 395"/>
                <a:gd name="T15" fmla="*/ 0 h 300"/>
                <a:gd name="T16" fmla="*/ 255 w 395"/>
                <a:gd name="T17" fmla="*/ 21 h 300"/>
                <a:gd name="T18" fmla="*/ 319 w 395"/>
                <a:gd name="T19" fmla="*/ 43 h 300"/>
                <a:gd name="T20" fmla="*/ 316 w 395"/>
                <a:gd name="T21" fmla="*/ 45 h 300"/>
                <a:gd name="T22" fmla="*/ 363 w 395"/>
                <a:gd name="T23" fmla="*/ 106 h 300"/>
                <a:gd name="T24" fmla="*/ 382 w 395"/>
                <a:gd name="T25" fmla="*/ 206 h 300"/>
                <a:gd name="T26" fmla="*/ 372 w 395"/>
                <a:gd name="T27" fmla="*/ 257 h 300"/>
                <a:gd name="T28" fmla="*/ 395 w 395"/>
                <a:gd name="T29" fmla="*/ 264 h 300"/>
                <a:gd name="T30" fmla="*/ 340 w 395"/>
                <a:gd name="T31" fmla="*/ 291 h 300"/>
                <a:gd name="T32" fmla="*/ 319 w 395"/>
                <a:gd name="T33" fmla="*/ 276 h 300"/>
                <a:gd name="T34" fmla="*/ 293 w 395"/>
                <a:gd name="T35" fmla="*/ 285 h 300"/>
                <a:gd name="T36" fmla="*/ 295 w 395"/>
                <a:gd name="T37" fmla="*/ 266 h 300"/>
                <a:gd name="T38" fmla="*/ 244 w 395"/>
                <a:gd name="T39" fmla="*/ 283 h 300"/>
                <a:gd name="T40" fmla="*/ 221 w 395"/>
                <a:gd name="T41" fmla="*/ 300 h 300"/>
                <a:gd name="T42" fmla="*/ 204 w 395"/>
                <a:gd name="T43" fmla="*/ 291 h 300"/>
                <a:gd name="T44" fmla="*/ 74 w 395"/>
                <a:gd name="T45" fmla="*/ 204 h 300"/>
                <a:gd name="T46" fmla="*/ 64 w 395"/>
                <a:gd name="T47" fmla="*/ 155 h 300"/>
                <a:gd name="T48" fmla="*/ 0 w 395"/>
                <a:gd name="T49" fmla="*/ 77 h 300"/>
                <a:gd name="T50" fmla="*/ 49 w 395"/>
                <a:gd name="T51" fmla="*/ 6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95" h="300">
                  <a:moveTo>
                    <a:pt x="49" y="6"/>
                  </a:moveTo>
                  <a:lnTo>
                    <a:pt x="106" y="62"/>
                  </a:lnTo>
                  <a:lnTo>
                    <a:pt x="151" y="74"/>
                  </a:lnTo>
                  <a:lnTo>
                    <a:pt x="163" y="68"/>
                  </a:lnTo>
                  <a:lnTo>
                    <a:pt x="153" y="17"/>
                  </a:lnTo>
                  <a:lnTo>
                    <a:pt x="168" y="11"/>
                  </a:lnTo>
                  <a:lnTo>
                    <a:pt x="174" y="53"/>
                  </a:lnTo>
                  <a:lnTo>
                    <a:pt x="225" y="0"/>
                  </a:lnTo>
                  <a:lnTo>
                    <a:pt x="255" y="21"/>
                  </a:lnTo>
                  <a:lnTo>
                    <a:pt x="319" y="43"/>
                  </a:lnTo>
                  <a:lnTo>
                    <a:pt x="316" y="45"/>
                  </a:lnTo>
                  <a:lnTo>
                    <a:pt x="363" y="106"/>
                  </a:lnTo>
                  <a:lnTo>
                    <a:pt x="382" y="206"/>
                  </a:lnTo>
                  <a:lnTo>
                    <a:pt x="372" y="257"/>
                  </a:lnTo>
                  <a:lnTo>
                    <a:pt x="395" y="264"/>
                  </a:lnTo>
                  <a:lnTo>
                    <a:pt x="340" y="291"/>
                  </a:lnTo>
                  <a:lnTo>
                    <a:pt x="319" y="276"/>
                  </a:lnTo>
                  <a:lnTo>
                    <a:pt x="293" y="285"/>
                  </a:lnTo>
                  <a:lnTo>
                    <a:pt x="295" y="266"/>
                  </a:lnTo>
                  <a:lnTo>
                    <a:pt x="244" y="283"/>
                  </a:lnTo>
                  <a:lnTo>
                    <a:pt x="221" y="300"/>
                  </a:lnTo>
                  <a:lnTo>
                    <a:pt x="204" y="291"/>
                  </a:lnTo>
                  <a:lnTo>
                    <a:pt x="74" y="204"/>
                  </a:lnTo>
                  <a:lnTo>
                    <a:pt x="64" y="155"/>
                  </a:lnTo>
                  <a:lnTo>
                    <a:pt x="0" y="77"/>
                  </a:lnTo>
                  <a:lnTo>
                    <a:pt x="49" y="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9" name="Freeform 102">
              <a:extLst>
                <a:ext uri="{FF2B5EF4-FFF2-40B4-BE49-F238E27FC236}">
                  <a16:creationId xmlns:a16="http://schemas.microsoft.com/office/drawing/2014/main" id="{7CD0FA7A-903A-4625-A282-179DB84D2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9221" y="2963495"/>
              <a:ext cx="560436" cy="606500"/>
            </a:xfrm>
            <a:custGeom>
              <a:avLst/>
              <a:gdLst>
                <a:gd name="T0" fmla="*/ 0 w 365"/>
                <a:gd name="T1" fmla="*/ 246 h 395"/>
                <a:gd name="T2" fmla="*/ 30 w 365"/>
                <a:gd name="T3" fmla="*/ 299 h 395"/>
                <a:gd name="T4" fmla="*/ 64 w 365"/>
                <a:gd name="T5" fmla="*/ 295 h 395"/>
                <a:gd name="T6" fmla="*/ 79 w 365"/>
                <a:gd name="T7" fmla="*/ 319 h 395"/>
                <a:gd name="T8" fmla="*/ 79 w 365"/>
                <a:gd name="T9" fmla="*/ 319 h 395"/>
                <a:gd name="T10" fmla="*/ 123 w 365"/>
                <a:gd name="T11" fmla="*/ 338 h 395"/>
                <a:gd name="T12" fmla="*/ 134 w 365"/>
                <a:gd name="T13" fmla="*/ 323 h 395"/>
                <a:gd name="T14" fmla="*/ 157 w 365"/>
                <a:gd name="T15" fmla="*/ 329 h 395"/>
                <a:gd name="T16" fmla="*/ 159 w 365"/>
                <a:gd name="T17" fmla="*/ 304 h 395"/>
                <a:gd name="T18" fmla="*/ 219 w 365"/>
                <a:gd name="T19" fmla="*/ 363 h 395"/>
                <a:gd name="T20" fmla="*/ 240 w 365"/>
                <a:gd name="T21" fmla="*/ 370 h 395"/>
                <a:gd name="T22" fmla="*/ 253 w 365"/>
                <a:gd name="T23" fmla="*/ 353 h 395"/>
                <a:gd name="T24" fmla="*/ 253 w 365"/>
                <a:gd name="T25" fmla="*/ 374 h 395"/>
                <a:gd name="T26" fmla="*/ 274 w 365"/>
                <a:gd name="T27" fmla="*/ 367 h 395"/>
                <a:gd name="T28" fmla="*/ 287 w 365"/>
                <a:gd name="T29" fmla="*/ 395 h 395"/>
                <a:gd name="T30" fmla="*/ 310 w 365"/>
                <a:gd name="T31" fmla="*/ 384 h 395"/>
                <a:gd name="T32" fmla="*/ 302 w 365"/>
                <a:gd name="T33" fmla="*/ 363 h 395"/>
                <a:gd name="T34" fmla="*/ 302 w 365"/>
                <a:gd name="T35" fmla="*/ 361 h 395"/>
                <a:gd name="T36" fmla="*/ 338 w 365"/>
                <a:gd name="T37" fmla="*/ 261 h 395"/>
                <a:gd name="T38" fmla="*/ 353 w 365"/>
                <a:gd name="T39" fmla="*/ 257 h 395"/>
                <a:gd name="T40" fmla="*/ 342 w 365"/>
                <a:gd name="T41" fmla="*/ 242 h 395"/>
                <a:gd name="T42" fmla="*/ 365 w 365"/>
                <a:gd name="T43" fmla="*/ 231 h 395"/>
                <a:gd name="T44" fmla="*/ 363 w 365"/>
                <a:gd name="T45" fmla="*/ 197 h 395"/>
                <a:gd name="T46" fmla="*/ 344 w 365"/>
                <a:gd name="T47" fmla="*/ 187 h 395"/>
                <a:gd name="T48" fmla="*/ 355 w 365"/>
                <a:gd name="T49" fmla="*/ 170 h 395"/>
                <a:gd name="T50" fmla="*/ 331 w 365"/>
                <a:gd name="T51" fmla="*/ 153 h 395"/>
                <a:gd name="T52" fmla="*/ 312 w 365"/>
                <a:gd name="T53" fmla="*/ 168 h 395"/>
                <a:gd name="T54" fmla="*/ 257 w 365"/>
                <a:gd name="T55" fmla="*/ 170 h 395"/>
                <a:gd name="T56" fmla="*/ 259 w 365"/>
                <a:gd name="T57" fmla="*/ 146 h 395"/>
                <a:gd name="T58" fmla="*/ 244 w 365"/>
                <a:gd name="T59" fmla="*/ 149 h 395"/>
                <a:gd name="T60" fmla="*/ 219 w 365"/>
                <a:gd name="T61" fmla="*/ 80 h 395"/>
                <a:gd name="T62" fmla="*/ 202 w 365"/>
                <a:gd name="T63" fmla="*/ 91 h 395"/>
                <a:gd name="T64" fmla="*/ 178 w 365"/>
                <a:gd name="T65" fmla="*/ 74 h 395"/>
                <a:gd name="T66" fmla="*/ 191 w 365"/>
                <a:gd name="T67" fmla="*/ 49 h 395"/>
                <a:gd name="T68" fmla="*/ 138 w 365"/>
                <a:gd name="T69" fmla="*/ 0 h 395"/>
                <a:gd name="T70" fmla="*/ 49 w 365"/>
                <a:gd name="T71" fmla="*/ 12 h 395"/>
                <a:gd name="T72" fmla="*/ 49 w 365"/>
                <a:gd name="T73" fmla="*/ 51 h 395"/>
                <a:gd name="T74" fmla="*/ 23 w 365"/>
                <a:gd name="T75" fmla="*/ 83 h 395"/>
                <a:gd name="T76" fmla="*/ 45 w 365"/>
                <a:gd name="T77" fmla="*/ 93 h 395"/>
                <a:gd name="T78" fmla="*/ 68 w 365"/>
                <a:gd name="T79" fmla="*/ 155 h 395"/>
                <a:gd name="T80" fmla="*/ 38 w 365"/>
                <a:gd name="T81" fmla="*/ 183 h 395"/>
                <a:gd name="T82" fmla="*/ 42 w 365"/>
                <a:gd name="T83" fmla="*/ 221 h 395"/>
                <a:gd name="T84" fmla="*/ 0 w 365"/>
                <a:gd name="T85" fmla="*/ 242 h 395"/>
                <a:gd name="T86" fmla="*/ 0 w 365"/>
                <a:gd name="T87" fmla="*/ 246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5" h="395">
                  <a:moveTo>
                    <a:pt x="0" y="246"/>
                  </a:moveTo>
                  <a:lnTo>
                    <a:pt x="30" y="299"/>
                  </a:lnTo>
                  <a:lnTo>
                    <a:pt x="64" y="295"/>
                  </a:lnTo>
                  <a:lnTo>
                    <a:pt x="79" y="319"/>
                  </a:lnTo>
                  <a:lnTo>
                    <a:pt x="79" y="319"/>
                  </a:lnTo>
                  <a:lnTo>
                    <a:pt x="123" y="338"/>
                  </a:lnTo>
                  <a:lnTo>
                    <a:pt x="134" y="323"/>
                  </a:lnTo>
                  <a:lnTo>
                    <a:pt x="157" y="329"/>
                  </a:lnTo>
                  <a:lnTo>
                    <a:pt x="159" y="304"/>
                  </a:lnTo>
                  <a:lnTo>
                    <a:pt x="219" y="363"/>
                  </a:lnTo>
                  <a:lnTo>
                    <a:pt x="240" y="370"/>
                  </a:lnTo>
                  <a:lnTo>
                    <a:pt x="253" y="353"/>
                  </a:lnTo>
                  <a:lnTo>
                    <a:pt x="253" y="374"/>
                  </a:lnTo>
                  <a:lnTo>
                    <a:pt x="274" y="367"/>
                  </a:lnTo>
                  <a:lnTo>
                    <a:pt x="287" y="395"/>
                  </a:lnTo>
                  <a:lnTo>
                    <a:pt x="310" y="384"/>
                  </a:lnTo>
                  <a:lnTo>
                    <a:pt x="302" y="363"/>
                  </a:lnTo>
                  <a:lnTo>
                    <a:pt x="302" y="361"/>
                  </a:lnTo>
                  <a:lnTo>
                    <a:pt x="338" y="261"/>
                  </a:lnTo>
                  <a:lnTo>
                    <a:pt x="353" y="257"/>
                  </a:lnTo>
                  <a:lnTo>
                    <a:pt x="342" y="242"/>
                  </a:lnTo>
                  <a:lnTo>
                    <a:pt x="365" y="231"/>
                  </a:lnTo>
                  <a:lnTo>
                    <a:pt x="363" y="197"/>
                  </a:lnTo>
                  <a:lnTo>
                    <a:pt x="344" y="187"/>
                  </a:lnTo>
                  <a:lnTo>
                    <a:pt x="355" y="170"/>
                  </a:lnTo>
                  <a:lnTo>
                    <a:pt x="331" y="153"/>
                  </a:lnTo>
                  <a:lnTo>
                    <a:pt x="312" y="168"/>
                  </a:lnTo>
                  <a:lnTo>
                    <a:pt x="257" y="170"/>
                  </a:lnTo>
                  <a:lnTo>
                    <a:pt x="259" y="146"/>
                  </a:lnTo>
                  <a:lnTo>
                    <a:pt x="244" y="149"/>
                  </a:lnTo>
                  <a:lnTo>
                    <a:pt x="219" y="80"/>
                  </a:lnTo>
                  <a:lnTo>
                    <a:pt x="202" y="91"/>
                  </a:lnTo>
                  <a:lnTo>
                    <a:pt x="178" y="74"/>
                  </a:lnTo>
                  <a:lnTo>
                    <a:pt x="191" y="49"/>
                  </a:lnTo>
                  <a:lnTo>
                    <a:pt x="138" y="0"/>
                  </a:lnTo>
                  <a:lnTo>
                    <a:pt x="49" y="12"/>
                  </a:lnTo>
                  <a:lnTo>
                    <a:pt x="49" y="51"/>
                  </a:lnTo>
                  <a:lnTo>
                    <a:pt x="23" y="83"/>
                  </a:lnTo>
                  <a:lnTo>
                    <a:pt x="45" y="93"/>
                  </a:lnTo>
                  <a:lnTo>
                    <a:pt x="68" y="155"/>
                  </a:lnTo>
                  <a:lnTo>
                    <a:pt x="38" y="183"/>
                  </a:lnTo>
                  <a:lnTo>
                    <a:pt x="42" y="221"/>
                  </a:lnTo>
                  <a:lnTo>
                    <a:pt x="0" y="242"/>
                  </a:lnTo>
                  <a:lnTo>
                    <a:pt x="0" y="24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10" name="Freeform 103">
              <a:extLst>
                <a:ext uri="{FF2B5EF4-FFF2-40B4-BE49-F238E27FC236}">
                  <a16:creationId xmlns:a16="http://schemas.microsoft.com/office/drawing/2014/main" id="{177BF335-0C93-4ED1-9F82-AB5E0CDD9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337" y="2482902"/>
              <a:ext cx="357758" cy="185789"/>
            </a:xfrm>
            <a:custGeom>
              <a:avLst/>
              <a:gdLst>
                <a:gd name="T0" fmla="*/ 0 w 233"/>
                <a:gd name="T1" fmla="*/ 60 h 121"/>
                <a:gd name="T2" fmla="*/ 34 w 233"/>
                <a:gd name="T3" fmla="*/ 64 h 121"/>
                <a:gd name="T4" fmla="*/ 36 w 233"/>
                <a:gd name="T5" fmla="*/ 64 h 121"/>
                <a:gd name="T6" fmla="*/ 40 w 233"/>
                <a:gd name="T7" fmla="*/ 66 h 121"/>
                <a:gd name="T8" fmla="*/ 42 w 233"/>
                <a:gd name="T9" fmla="*/ 66 h 121"/>
                <a:gd name="T10" fmla="*/ 99 w 233"/>
                <a:gd name="T11" fmla="*/ 89 h 121"/>
                <a:gd name="T12" fmla="*/ 121 w 233"/>
                <a:gd name="T13" fmla="*/ 83 h 121"/>
                <a:gd name="T14" fmla="*/ 140 w 233"/>
                <a:gd name="T15" fmla="*/ 121 h 121"/>
                <a:gd name="T16" fmla="*/ 161 w 233"/>
                <a:gd name="T17" fmla="*/ 106 h 121"/>
                <a:gd name="T18" fmla="*/ 161 w 233"/>
                <a:gd name="T19" fmla="*/ 106 h 121"/>
                <a:gd name="T20" fmla="*/ 161 w 233"/>
                <a:gd name="T21" fmla="*/ 104 h 121"/>
                <a:gd name="T22" fmla="*/ 201 w 233"/>
                <a:gd name="T23" fmla="*/ 104 h 121"/>
                <a:gd name="T24" fmla="*/ 225 w 233"/>
                <a:gd name="T25" fmla="*/ 85 h 121"/>
                <a:gd name="T26" fmla="*/ 233 w 233"/>
                <a:gd name="T27" fmla="*/ 62 h 121"/>
                <a:gd name="T28" fmla="*/ 170 w 233"/>
                <a:gd name="T29" fmla="*/ 21 h 121"/>
                <a:gd name="T30" fmla="*/ 144 w 233"/>
                <a:gd name="T31" fmla="*/ 32 h 121"/>
                <a:gd name="T32" fmla="*/ 112 w 233"/>
                <a:gd name="T33" fmla="*/ 13 h 121"/>
                <a:gd name="T34" fmla="*/ 65 w 233"/>
                <a:gd name="T35" fmla="*/ 28 h 121"/>
                <a:gd name="T36" fmla="*/ 31 w 233"/>
                <a:gd name="T37" fmla="*/ 21 h 121"/>
                <a:gd name="T38" fmla="*/ 23 w 233"/>
                <a:gd name="T39" fmla="*/ 0 h 121"/>
                <a:gd name="T40" fmla="*/ 0 w 233"/>
                <a:gd name="T41" fmla="*/ 55 h 121"/>
                <a:gd name="T42" fmla="*/ 0 w 233"/>
                <a:gd name="T43" fmla="*/ 6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3" h="121">
                  <a:moveTo>
                    <a:pt x="0" y="60"/>
                  </a:moveTo>
                  <a:lnTo>
                    <a:pt x="34" y="64"/>
                  </a:lnTo>
                  <a:lnTo>
                    <a:pt x="36" y="64"/>
                  </a:lnTo>
                  <a:lnTo>
                    <a:pt x="40" y="66"/>
                  </a:lnTo>
                  <a:lnTo>
                    <a:pt x="42" y="66"/>
                  </a:lnTo>
                  <a:lnTo>
                    <a:pt x="99" y="89"/>
                  </a:lnTo>
                  <a:lnTo>
                    <a:pt x="121" y="83"/>
                  </a:lnTo>
                  <a:lnTo>
                    <a:pt x="140" y="121"/>
                  </a:lnTo>
                  <a:lnTo>
                    <a:pt x="161" y="106"/>
                  </a:lnTo>
                  <a:lnTo>
                    <a:pt x="161" y="106"/>
                  </a:lnTo>
                  <a:lnTo>
                    <a:pt x="161" y="104"/>
                  </a:lnTo>
                  <a:lnTo>
                    <a:pt x="201" y="104"/>
                  </a:lnTo>
                  <a:lnTo>
                    <a:pt x="225" y="85"/>
                  </a:lnTo>
                  <a:lnTo>
                    <a:pt x="233" y="62"/>
                  </a:lnTo>
                  <a:lnTo>
                    <a:pt x="170" y="21"/>
                  </a:lnTo>
                  <a:lnTo>
                    <a:pt x="144" y="32"/>
                  </a:lnTo>
                  <a:lnTo>
                    <a:pt x="112" y="13"/>
                  </a:lnTo>
                  <a:lnTo>
                    <a:pt x="65" y="28"/>
                  </a:lnTo>
                  <a:lnTo>
                    <a:pt x="31" y="21"/>
                  </a:lnTo>
                  <a:lnTo>
                    <a:pt x="23" y="0"/>
                  </a:lnTo>
                  <a:lnTo>
                    <a:pt x="0" y="55"/>
                  </a:lnTo>
                  <a:lnTo>
                    <a:pt x="0" y="6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</p:grp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11DBA33-FB4C-4882-B0D4-CB8D83821898}"/>
              </a:ext>
            </a:extLst>
          </p:cNvPr>
          <p:cNvSpPr/>
          <p:nvPr/>
        </p:nvSpPr>
        <p:spPr>
          <a:xfrm>
            <a:off x="390194" y="5278979"/>
            <a:ext cx="106296" cy="1062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0" rtlCol="0" anchor="ctr"/>
          <a:lstStyle/>
          <a:p>
            <a:pPr defTabSz="685800"/>
            <a:r>
              <a:rPr lang="fr-FR" sz="1100" dirty="0">
                <a:solidFill>
                  <a:srgbClr val="000000"/>
                </a:solidFill>
                <a:latin typeface="MAIF"/>
              </a:rPr>
              <a:t>Légende #1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368196BE-AB03-4A0D-9F04-F146C455B3F4}"/>
              </a:ext>
            </a:extLst>
          </p:cNvPr>
          <p:cNvSpPr/>
          <p:nvPr/>
        </p:nvSpPr>
        <p:spPr>
          <a:xfrm>
            <a:off x="390194" y="5522052"/>
            <a:ext cx="106296" cy="106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0" rtlCol="0" anchor="ctr"/>
          <a:lstStyle/>
          <a:p>
            <a:pPr defTabSz="685800"/>
            <a:r>
              <a:rPr lang="fr-FR" sz="1100" dirty="0">
                <a:solidFill>
                  <a:srgbClr val="000000"/>
                </a:solidFill>
                <a:latin typeface="MAIF"/>
              </a:rPr>
              <a:t>Légende #2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AD4F8D5A-1C96-4FAF-94CC-4B72400287CF}"/>
              </a:ext>
            </a:extLst>
          </p:cNvPr>
          <p:cNvSpPr/>
          <p:nvPr/>
        </p:nvSpPr>
        <p:spPr>
          <a:xfrm>
            <a:off x="390194" y="5765126"/>
            <a:ext cx="106296" cy="10629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0" rtlCol="0" anchor="ctr"/>
          <a:lstStyle/>
          <a:p>
            <a:pPr defTabSz="685800"/>
            <a:r>
              <a:rPr lang="fr-FR" sz="1100" dirty="0">
                <a:solidFill>
                  <a:srgbClr val="000000"/>
                </a:solidFill>
                <a:latin typeface="MAIF"/>
              </a:rPr>
              <a:t>Légende #3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1C544AE7-7129-4945-9F2A-D9F92CB8BEAB}"/>
              </a:ext>
            </a:extLst>
          </p:cNvPr>
          <p:cNvSpPr/>
          <p:nvPr/>
        </p:nvSpPr>
        <p:spPr>
          <a:xfrm>
            <a:off x="9215531" y="0"/>
            <a:ext cx="1414370" cy="1772280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utiliser une carte de France et modifier 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la couleur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des départements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opier-coller la carte dans votre présentation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a cart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e département désiré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anger la couleur de remplissage</a:t>
            </a:r>
          </a:p>
          <a:p>
            <a:pPr defTabSz="685800"/>
            <a:r>
              <a:rPr lang="fr-FR" sz="750" dirty="0">
                <a:solidFill>
                  <a:srgbClr val="314051"/>
                </a:solidFill>
                <a:latin typeface="MAIF"/>
              </a:rPr>
              <a:t>Attention, n’oubliez pas de de copier-coller et modifier la légende. </a:t>
            </a:r>
          </a:p>
        </p:txBody>
      </p:sp>
    </p:spTree>
    <p:extLst>
      <p:ext uri="{BB962C8B-B14F-4D97-AF65-F5344CB8AC3E}">
        <p14:creationId xmlns:p14="http://schemas.microsoft.com/office/powerpoint/2010/main" val="131816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457B615-1076-484C-B2C7-AD98F928C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6377C57-9C45-4D58-BA89-CFC71CCBBE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>
              <a:spcBef>
                <a:spcPts val="1350"/>
              </a:spcBef>
            </a:pPr>
            <a:r>
              <a:rPr lang="fr-FR" b="1" dirty="0">
                <a:solidFill>
                  <a:schemeClr val="bg2"/>
                </a:solidFill>
              </a:rPr>
              <a:t>Pied de page</a:t>
            </a:r>
          </a:p>
          <a:p>
            <a:pPr lvl="1"/>
            <a:r>
              <a:rPr lang="fr-FR" dirty="0"/>
              <a:t>Pour changer le pied de page </a:t>
            </a:r>
          </a:p>
          <a:p>
            <a:pPr lvl="3"/>
            <a:r>
              <a:rPr lang="fr-FR" dirty="0"/>
              <a:t>Cliquer sur « Insertion » </a:t>
            </a:r>
          </a:p>
          <a:p>
            <a:pPr lvl="3"/>
            <a:r>
              <a:rPr lang="fr-FR" dirty="0"/>
              <a:t>Cliquer sur « En-tête et pied de page »</a:t>
            </a:r>
          </a:p>
          <a:p>
            <a:pPr lvl="3"/>
            <a:r>
              <a:rPr lang="fr-FR" dirty="0"/>
              <a:t>Modifier le pied de page (nom de la présentation)</a:t>
            </a:r>
          </a:p>
          <a:p>
            <a:pPr lvl="3"/>
            <a:r>
              <a:rPr lang="fr-FR" dirty="0"/>
              <a:t>Sélectionner « Appliquer partout »</a:t>
            </a:r>
          </a:p>
          <a:p>
            <a:pPr>
              <a:spcBef>
                <a:spcPts val="1800"/>
              </a:spcBef>
            </a:pPr>
            <a:r>
              <a:rPr lang="fr-FR" b="1" dirty="0">
                <a:solidFill>
                  <a:schemeClr val="bg2"/>
                </a:solidFill>
              </a:rPr>
              <a:t>Graphique</a:t>
            </a:r>
          </a:p>
          <a:p>
            <a:pPr lvl="1"/>
            <a:r>
              <a:rPr lang="fr-FR" dirty="0"/>
              <a:t>Pour insérer un modèle de graphique :</a:t>
            </a:r>
          </a:p>
          <a:p>
            <a:pPr lvl="3"/>
            <a:r>
              <a:rPr lang="fr-FR" dirty="0"/>
              <a:t>Copier-coller la diapositive qui contient un graphique que vous souhaitez personnaliser</a:t>
            </a:r>
          </a:p>
          <a:p>
            <a:pPr lvl="3"/>
            <a:r>
              <a:rPr lang="fr-FR" dirty="0"/>
              <a:t>Pour la mise en page, double-cliquer sur le graphique pour le mettre à jour </a:t>
            </a:r>
          </a:p>
          <a:p>
            <a:pPr lvl="3"/>
            <a:r>
              <a:rPr lang="fr-FR" dirty="0"/>
              <a:t>Pour les données, clic droit sur le graphique, et sélectionner « Modifier les données »</a:t>
            </a:r>
          </a:p>
          <a:p>
            <a:pPr lvl="3"/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A603D22-2C69-470E-9E8B-2FD0F61AFF0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685800"/>
            <a:fld id="{F28308C8-2F5B-4380-A842-F39A8C9C5CE3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7253E7E-F803-430F-9251-482F135EFA7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20" name="Espace réservé du numéro de diapositive 19">
            <a:extLst>
              <a:ext uri="{FF2B5EF4-FFF2-40B4-BE49-F238E27FC236}">
                <a16:creationId xmlns:a16="http://schemas.microsoft.com/office/drawing/2014/main" id="{2FAC3829-CF98-40EA-BEED-0B119F718EC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685800"/>
            <a:fld id="{6920E67E-33A7-49D9-8949-B2F0A74DF94C}" type="slidenum">
              <a:rPr lang="fr-FR">
                <a:solidFill>
                  <a:srgbClr val="000000"/>
                </a:solidFill>
              </a:rPr>
              <a:pPr defTabSz="685800"/>
              <a:t>4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5B4B5CC-0596-406C-BA62-AFC30B5C44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4</a:t>
            </a:r>
          </a:p>
        </p:txBody>
      </p:sp>
    </p:spTree>
    <p:extLst>
      <p:ext uri="{BB962C8B-B14F-4D97-AF65-F5344CB8AC3E}">
        <p14:creationId xmlns:p14="http://schemas.microsoft.com/office/powerpoint/2010/main" val="1049096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4B0F24DE-F2B4-4222-B0ED-4D2D50476A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E126FAF-D191-4B4C-9EB7-A951CEF7D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278F62-1FD0-46C6-A8BA-A1F8609DB71D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2CAECCB-0F92-48F4-84FE-24A36B432E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2606E40-4590-4343-B3A6-F4AC19847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D55B8410-5305-4004-9962-A4AF1A38DD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E33906DC-A72A-4DCD-98F8-72B2570C922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025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8A5AA72A-6D20-4833-85A4-07E7C64C742A}"/>
              </a:ext>
            </a:extLst>
          </p:cNvPr>
          <p:cNvSpPr/>
          <p:nvPr/>
        </p:nvSpPr>
        <p:spPr>
          <a:xfrm>
            <a:off x="9215531" y="0"/>
            <a:ext cx="1414370" cy="3452227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Modifier les paramètres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de lectur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a vidéo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Dans la barre d’outils, cliquer sur Lectur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Dérouler le menu démarrage pour choisir l’option de lancement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Pour changer l’image initiale, sélectionner la vidéo et dans l’onglet « Format », choisir « Image initiale »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a vidéo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t la placer à l’arrière-plan pour faire apparaître le titre 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de la slide</a:t>
            </a:r>
          </a:p>
          <a:p>
            <a:pPr defTabSz="685800">
              <a:spcBef>
                <a:spcPts val="900"/>
              </a:spcBef>
            </a:pPr>
            <a:r>
              <a:rPr lang="fr-FR" sz="750" dirty="0">
                <a:solidFill>
                  <a:srgbClr val="314051"/>
                </a:solidFill>
                <a:latin typeface="MAIF Medium"/>
              </a:rPr>
              <a:t>Pour insérer une vidéo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en lign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Dans l’onglet « Insertion », 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cliquer sur « Vidéo » 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oisir « Vidéo en ligne » et coller le lien hypertexte de la vidéo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n ligne</a:t>
            </a:r>
          </a:p>
        </p:txBody>
      </p:sp>
      <p:sp>
        <p:nvSpPr>
          <p:cNvPr id="6" name="Espace réservé de l'élément multimédia 5">
            <a:extLst>
              <a:ext uri="{FF2B5EF4-FFF2-40B4-BE49-F238E27FC236}">
                <a16:creationId xmlns:a16="http://schemas.microsoft.com/office/drawing/2014/main" id="{CEA41D81-0CD4-4B5C-9497-518DFFD33553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/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104F3415-5D1B-4878-AEFA-237823DA0E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8686360-2020-45E3-B3B2-FC88BB8190D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</p:spTree>
    <p:extLst>
      <p:ext uri="{BB962C8B-B14F-4D97-AF65-F5344CB8AC3E}">
        <p14:creationId xmlns:p14="http://schemas.microsoft.com/office/powerpoint/2010/main" val="4210340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9E02D1EA-AD3E-4DFC-8F2A-4CBE8E35D3C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548B31D2-EF6F-435E-A646-1C0904AD5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3A7446B0-BD91-479F-80E0-A7F02E97F1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8341595-82B3-4280-A477-4ED21EE9797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/>
              <a:t>4.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A5AA72A-6D20-4833-85A4-07E7C64C742A}"/>
              </a:ext>
            </a:extLst>
          </p:cNvPr>
          <p:cNvSpPr/>
          <p:nvPr/>
        </p:nvSpPr>
        <p:spPr>
          <a:xfrm>
            <a:off x="9215531" y="0"/>
            <a:ext cx="1414370" cy="1195199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Insérer un visuel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’icon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au milieu du bloc 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’image souhaitée dans votre ordinateur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Faire un clic droit sur l’image, puis choisir « Arrière-plan »</a:t>
            </a:r>
          </a:p>
        </p:txBody>
      </p:sp>
    </p:spTree>
    <p:extLst>
      <p:ext uri="{BB962C8B-B14F-4D97-AF65-F5344CB8AC3E}">
        <p14:creationId xmlns:p14="http://schemas.microsoft.com/office/powerpoint/2010/main" val="4066954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E6BC2A54-BACF-41AF-B368-334EF244B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57FC477-BBF8-4A37-85C6-DB7E766F95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F8CBF2ED-D57E-4540-B0DC-903A49215537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36C884C6-6743-4FFE-90CA-5B3F208C1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18DD84DA-E9A3-4C2E-BD75-DD1B814A0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DC0CD013-11ED-4927-9BE4-5FA3D81D3B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endParaRPr lang="fr-FR" dirty="0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BE694746-8610-4018-9BA1-67AA274E41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5.0</a:t>
            </a:r>
          </a:p>
        </p:txBody>
      </p:sp>
    </p:spTree>
    <p:extLst>
      <p:ext uri="{BB962C8B-B14F-4D97-AF65-F5344CB8AC3E}">
        <p14:creationId xmlns:p14="http://schemas.microsoft.com/office/powerpoint/2010/main" val="618141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D590269C-D8AA-4C76-9B03-0373353C59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D590269C-D8AA-4C76-9B03-0373353C5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0091175-84C9-4912-AB5A-3627B2D2AE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FR" sz="2400" dirty="0">
              <a:latin typeface="MAIF Medium" panose="020B0603020200030B04" pitchFamily="34" charset="0"/>
              <a:ea typeface="+mj-ea"/>
              <a:cs typeface="+mj-cs"/>
              <a:sym typeface="MAIF Medium" panose="020B0603020200030B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7893C8-0D71-4C75-AD60-2287126A2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DE856E09-89E8-445A-B924-93511459C5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Couleurs </a:t>
            </a:r>
          </a:p>
          <a:p>
            <a:pPr lvl="1"/>
            <a:r>
              <a:rPr lang="fr-FR" dirty="0"/>
              <a:t>Pour les couleurs de police, utiliser uniquement le noir ou le rouge</a:t>
            </a:r>
          </a:p>
          <a:p>
            <a:pPr lvl="1"/>
            <a:r>
              <a:rPr lang="fr-FR" dirty="0"/>
              <a:t>Les autres couleurs de la palette sont à utiliser sur des fonds ou sur des mises en avant de chiffres</a:t>
            </a:r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97589679-1973-4785-BA33-9A6E5092C99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5251913-1703-4777-83CC-ABB2FE51FC81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937DEB98-C6DD-4B81-8BB3-A1FDA2F4C6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E982FC17-3B68-4A32-A34D-19109E4FA9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7BA5592-E3A5-4855-928B-BB8B5DF898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6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0D5E598-0831-40BF-B32A-AD6DA8755C17}"/>
              </a:ext>
            </a:extLst>
          </p:cNvPr>
          <p:cNvSpPr/>
          <p:nvPr/>
        </p:nvSpPr>
        <p:spPr>
          <a:xfrm>
            <a:off x="391886" y="3527061"/>
            <a:ext cx="8447314" cy="1750049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066E5993-75E9-4549-9A30-C38391DA982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57" y="3777908"/>
            <a:ext cx="857922" cy="857922"/>
          </a:xfrm>
          <a:prstGeom prst="rect">
            <a:avLst/>
          </a:prstGeom>
        </p:spPr>
      </p:pic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82AB6134-670A-4201-B548-BBD5B613BFB7}"/>
              </a:ext>
            </a:extLst>
          </p:cNvPr>
          <p:cNvSpPr txBox="1">
            <a:spLocks/>
          </p:cNvSpPr>
          <p:nvPr/>
        </p:nvSpPr>
        <p:spPr>
          <a:xfrm>
            <a:off x="1630808" y="3648542"/>
            <a:ext cx="7111449" cy="1510469"/>
          </a:xfrm>
          <a:prstGeom prst="rect">
            <a:avLst/>
          </a:prstGeom>
        </p:spPr>
        <p:txBody>
          <a:bodyPr vert="horz" lIns="0" tIns="34290" rIns="68580" bIns="34290" rtlCol="0">
            <a:normAutofit/>
          </a:bodyPr>
          <a:lstStyle>
            <a:lvl1pPr marL="92075" indent="-920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ct val="90000"/>
              <a:buFontTx/>
              <a:buBlip>
                <a:blip r:embed="rId8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500" b="1" dirty="0">
                <a:solidFill>
                  <a:schemeClr val="bg2"/>
                </a:solidFill>
              </a:rPr>
              <a:t>Envoi des présentations</a:t>
            </a:r>
          </a:p>
          <a:p>
            <a:pPr lvl="1"/>
            <a:r>
              <a:rPr lang="fr-FR" sz="1350" dirty="0"/>
              <a:t>Pour optimiser le poids de vos présentations lors de l’envoi par mail par exemple, opter pour l’une de ces deux solutions :</a:t>
            </a:r>
          </a:p>
          <a:p>
            <a:pPr lvl="2"/>
            <a:r>
              <a:rPr lang="fr-FR" sz="1200" dirty="0"/>
              <a:t>Enregistrer la présentation au format « PDF » (conserve les données textes)</a:t>
            </a:r>
          </a:p>
          <a:p>
            <a:pPr lvl="2"/>
            <a:r>
              <a:rPr lang="fr-FR" sz="1200" dirty="0"/>
              <a:t>Enregistrer au format « Présentation de l’image Powerpoint » (conversion</a:t>
            </a:r>
            <a:br>
              <a:rPr lang="fr-FR" sz="1200" dirty="0"/>
            </a:br>
            <a:r>
              <a:rPr lang="fr-FR" sz="1200" dirty="0"/>
              <a:t>des slides en images)</a:t>
            </a:r>
          </a:p>
        </p:txBody>
      </p:sp>
    </p:spTree>
    <p:extLst>
      <p:ext uri="{BB962C8B-B14F-4D97-AF65-F5344CB8AC3E}">
        <p14:creationId xmlns:p14="http://schemas.microsoft.com/office/powerpoint/2010/main" val="3535298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B146AED-DD3D-4D9E-A427-167670BE5D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  <a:latin typeface="MAIF Black" panose="020B0803020200030B04" pitchFamily="34" charset="0"/>
              </a:rPr>
              <a:t>document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567079B-6433-4121-8692-69ABD1557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D62-8CF8-46DD-BD04-B43C67AFA32C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3C60577B-747F-47A8-8402-52B3C9A21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1D1EE9E-2CD2-4DFA-9247-3466136002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6</a:t>
            </a:fld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7BEDE3A-EB42-4F70-960B-FC4C0B57F9C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sans arrière-plan</a:t>
            </a:r>
          </a:p>
        </p:txBody>
      </p:sp>
    </p:spTree>
    <p:extLst>
      <p:ext uri="{BB962C8B-B14F-4D97-AF65-F5344CB8AC3E}">
        <p14:creationId xmlns:p14="http://schemas.microsoft.com/office/powerpoint/2010/main" val="117618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personne, extérieur, ciel, femme&#10;&#10;Description générée automatiquement">
            <a:extLst>
              <a:ext uri="{FF2B5EF4-FFF2-40B4-BE49-F238E27FC236}">
                <a16:creationId xmlns:a16="http://schemas.microsoft.com/office/drawing/2014/main" id="{5C13445F-82C7-0448-9BD2-B09FBAD6BC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667"/>
            <a:ext cx="9137788" cy="6862665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B146AED-DD3D-4D9E-A427-167670BE5D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>
                <a:solidFill>
                  <a:schemeClr val="bg1"/>
                </a:solidFill>
              </a:rPr>
              <a:t>Titre du </a:t>
            </a:r>
            <a:r>
              <a:rPr lang="fr-FR" dirty="0">
                <a:solidFill>
                  <a:schemeClr val="bg2"/>
                </a:solidFill>
                <a:latin typeface="MAIF Black" panose="020B0803020200030B04" pitchFamily="34" charset="0"/>
              </a:rPr>
              <a:t>document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567079B-6433-4121-8692-69ABD1557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D62-8CF8-46DD-BD04-B43C67AFA32C}" type="datetime1">
              <a:rPr lang="fr-FR">
                <a:solidFill>
                  <a:schemeClr val="bg1"/>
                </a:solidFill>
              </a:rPr>
              <a:pPr/>
              <a:t>18/07/2019</a:t>
            </a:fld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3C60577B-747F-47A8-8402-52B3C9A21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1D1EE9E-2CD2-4DFA-9247-3466136002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7</a:t>
            </a:fld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7BEDE3A-EB42-4F70-960B-FC4C0B57F9C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>
                <a:solidFill>
                  <a:schemeClr val="bg1"/>
                </a:solidFill>
              </a:rPr>
              <a:t>sans arrière-plan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261F7289-E63A-3E4E-A514-A0EAE03196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288" y="2133600"/>
            <a:ext cx="3365500" cy="259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37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0635999E-499B-4990-BD4A-12B294F9B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503DBFC-901B-4CBF-BCE4-30B1AA6A713B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BA67D5D1-6A8F-483F-979E-BA3C21B06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  <a:latin typeface="MAIF Medium"/>
              </a:rPr>
              <a:t>Titre de la présentation</a:t>
            </a: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8444D725-B6E1-4F99-8147-E2A48D18E7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1BCAC031-C0C2-43FB-92F2-B353477C01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B402D950-D5F9-4EB5-ADCD-7639C2DA4A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D2B78F25-B01E-4719-923F-8A6874083AA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B1C3D98-E50F-4E5C-8F95-A64EAA23A4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43B5739B-DCBC-4C50-8880-19D34EF427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FD5CE9FF-C6D0-444B-89C8-5D009197FCC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52F99FD4-0727-4CC3-91A3-D405ED30A8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0B8D0157-7CAC-4017-9A94-E743DE7ECB7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</p:spTree>
    <p:extLst>
      <p:ext uri="{BB962C8B-B14F-4D97-AF65-F5344CB8AC3E}">
        <p14:creationId xmlns:p14="http://schemas.microsoft.com/office/powerpoint/2010/main" val="215142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8C11A44-65AB-4F40-895D-3341A87248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6A5B55C4-894F-40D2-856F-B1AD3F69E7C0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828DEB2-9414-4986-A5A5-419A8B4500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99F4A62F-92A8-4A29-BDEA-69A97E9805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8D82D64F-01F2-4C00-A6C0-FB5C2B7E92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6116F4-1F38-48A7-9F1E-1B30A44763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F01FD15B-3D25-46DF-967F-B5BD8C7400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703D530B-54DA-4F3F-AB8F-C2E37AB11A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A473F1D-2B52-4455-AADC-1C4F8165776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3E3F928-5451-4BCE-AE1D-FF9F83ACABE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09EEDFB0-FD0F-4D7C-8F9F-37A33B08EC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EFBD08AA-8008-4A54-B2C5-F7E999465DB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937F9034-8ED6-420A-B3E8-A43C0D132FE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fr-FR" dirty="0"/>
              <a:t>5</a:t>
            </a:r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FCAEE848-EA8C-4BCA-8498-1B5AFC2E103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fr-FR" dirty="0"/>
              <a:t>6</a:t>
            </a:r>
          </a:p>
        </p:txBody>
      </p: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BE7B5885-886C-47F1-AB86-8C9887FE369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7</a:t>
            </a:r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9A859257-EEF7-4BD1-803B-DDDFDDA6391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/>
              <a:t>8</a:t>
            </a:r>
          </a:p>
        </p:txBody>
      </p:sp>
      <p:sp>
        <p:nvSpPr>
          <p:cNvPr id="28" name="Espace réservé du texte 27">
            <a:extLst>
              <a:ext uri="{FF2B5EF4-FFF2-40B4-BE49-F238E27FC236}">
                <a16:creationId xmlns:a16="http://schemas.microsoft.com/office/drawing/2014/main" id="{626FF03F-26C5-49B2-A6D6-D73EE095F9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9" name="Espace réservé du texte 28">
            <a:extLst>
              <a:ext uri="{FF2B5EF4-FFF2-40B4-BE49-F238E27FC236}">
                <a16:creationId xmlns:a16="http://schemas.microsoft.com/office/drawing/2014/main" id="{77C53528-1557-4EDF-BD77-B790BB7D873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D025E01-8565-4DFF-8069-39D064D10D6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F70E1C24-47C3-451C-B5F2-EBC4EA2FE1B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</p:spTree>
    <p:extLst>
      <p:ext uri="{BB962C8B-B14F-4D97-AF65-F5344CB8AC3E}">
        <p14:creationId xmlns:p14="http://schemas.microsoft.com/office/powerpoint/2010/main" val="1991188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chsoi7lcvltoBfTNSilA"/>
</p:tagLst>
</file>

<file path=ppt/theme/theme1.xml><?xml version="1.0" encoding="utf-8"?>
<a:theme xmlns:a="http://schemas.openxmlformats.org/drawingml/2006/main" name="190520 1757 MAIF - Template Corporate">
  <a:themeElements>
    <a:clrScheme name="Personnalisé 179">
      <a:dk1>
        <a:srgbClr val="314051"/>
      </a:dk1>
      <a:lt1>
        <a:sysClr val="window" lastClr="FFFFFF"/>
      </a:lt1>
      <a:dk2>
        <a:srgbClr val="000000"/>
      </a:dk2>
      <a:lt2>
        <a:srgbClr val="FC0D1A"/>
      </a:lt2>
      <a:accent1>
        <a:srgbClr val="574855"/>
      </a:accent1>
      <a:accent2>
        <a:srgbClr val="ACB8D2"/>
      </a:accent2>
      <a:accent3>
        <a:srgbClr val="B84344"/>
      </a:accent3>
      <a:accent4>
        <a:srgbClr val="FF7458"/>
      </a:accent4>
      <a:accent5>
        <a:srgbClr val="C49FBB"/>
      </a:accent5>
      <a:accent6>
        <a:srgbClr val="818985"/>
      </a:accent6>
      <a:hlink>
        <a:srgbClr val="0563C1"/>
      </a:hlink>
      <a:folHlink>
        <a:srgbClr val="954F72"/>
      </a:folHlink>
    </a:clrScheme>
    <a:fontScheme name="Personnalisé 55">
      <a:majorFont>
        <a:latin typeface="MAIF Medium"/>
        <a:ea typeface=""/>
        <a:cs typeface=""/>
      </a:majorFont>
      <a:minorFont>
        <a:latin typeface="MAI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odele_MAIF_4-3" id="{D884884E-3173-4B44-A66E-816E8127314E}" vid="{EB4DCBB4-241D-0942-A8FF-8E408F567DC7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90520 1757 MAIF - Template Corporate</Template>
  <TotalTime>1472</TotalTime>
  <Words>1573</Words>
  <Application>Microsoft Macintosh PowerPoint</Application>
  <PresentationFormat>Affichage à l'écran (4:3)</PresentationFormat>
  <Paragraphs>525</Paragraphs>
  <Slides>43</Slides>
  <Notes>0</Notes>
  <HiddenSlides>5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3</vt:i4>
      </vt:variant>
    </vt:vector>
  </HeadingPairs>
  <TitlesOfParts>
    <vt:vector size="51" baseType="lpstr">
      <vt:lpstr>Arial</vt:lpstr>
      <vt:lpstr>Calibri</vt:lpstr>
      <vt:lpstr>MAIF</vt:lpstr>
      <vt:lpstr>MAIF Black</vt:lpstr>
      <vt:lpstr>MAIF Light</vt:lpstr>
      <vt:lpstr>MAIF Medium</vt:lpstr>
      <vt:lpstr>190520 1757 MAIF - Template Corporate</vt:lpstr>
      <vt:lpstr>Diapositive think-cell</vt:lpstr>
      <vt:lpstr>Notice d’utilisation</vt:lpstr>
      <vt:lpstr>Notice d’utilisation</vt:lpstr>
      <vt:lpstr>Notice d’utilisation</vt:lpstr>
      <vt:lpstr>Notice d’utilisation</vt:lpstr>
      <vt:lpstr>Notice d’utilisation</vt:lpstr>
      <vt:lpstr>Titre du document</vt:lpstr>
      <vt:lpstr>Titre du document</vt:lpstr>
      <vt:lpstr>Présentation PowerPoint</vt:lpstr>
      <vt:lpstr>Présentation PowerPoint</vt:lpstr>
      <vt:lpstr>Sommaire</vt:lpstr>
      <vt:lpstr>Titre de chapitre sur une ou plusieurs lignes</vt:lpstr>
      <vt:lpstr>Titre de chapitre sur une ou deux ligne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tice d’utilisation</dc:title>
  <dc:creator>PARNEIX Thomas</dc:creator>
  <cp:lastModifiedBy>PARNEIX Thomas</cp:lastModifiedBy>
  <cp:revision>14</cp:revision>
  <dcterms:created xsi:type="dcterms:W3CDTF">2019-07-01T07:23:30Z</dcterms:created>
  <dcterms:modified xsi:type="dcterms:W3CDTF">2019-07-18T09:17:55Z</dcterms:modified>
</cp:coreProperties>
</file>